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tiff" ContentType="image/tiff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heme/theme2.xml" ContentType="application/vnd.openxmlformats-officedocument.theme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heme/theme4.xml" ContentType="application/vnd.openxmlformats-officedocument.theme+xml"/>
  <Override PartName="/ppt/theme/theme5.xml" ContentType="application/vnd.openxmlformats-officedocument.theme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notesSlides/notesSlide1.xml" ContentType="application/vnd.openxmlformats-officedocument.presentationml.notesSlide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84" r:id="rId4"/>
    <p:sldMasterId id="2147483688" r:id="rId5"/>
    <p:sldMasterId id="2147483660" r:id="rId6"/>
  </p:sldMasterIdLst>
  <p:notesMasterIdLst>
    <p:notesMasterId r:id="rId9"/>
  </p:notesMasterIdLst>
  <p:handoutMasterIdLst>
    <p:handoutMasterId r:id="rId10"/>
  </p:handoutMasterIdLst>
  <p:sldIdLst>
    <p:sldId id="2147478475" r:id="rId7"/>
    <p:sldId id="2147479795" r:id="rId8"/>
  </p:sldIdLst>
  <p:sldSz cx="12192000" cy="6858000"/>
  <p:notesSz cx="6858000" cy="9144000"/>
  <p:defaultTextStyle>
    <a:defPPr>
      <a:defRPr lang="en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Vorlagen NEU" id="{F7427985-F8A5-4F0D-8FB8-9AE6777AC820}">
          <p14:sldIdLst>
            <p14:sldId id="2147478475"/>
            <p14:sldId id="2147479795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16F4CD8-F122-31B9-7A8A-9A01F106891B}" name="Dürmeyer, Felix" initials="DF" userId="S::felix.duermeyer@senacor.com::e681a03b-95e4-4ec6-8dc1-70ae960b340d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40FF"/>
    <a:srgbClr val="FF79FF"/>
    <a:srgbClr val="7192C7"/>
    <a:srgbClr val="000000"/>
    <a:srgbClr val="323232"/>
    <a:srgbClr val="F6C111"/>
    <a:srgbClr val="929292"/>
    <a:srgbClr val="EEC345"/>
    <a:srgbClr val="373737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3BB3E59B-E679-2C46-AB1C-352D847E9CD0}" v="9" dt="2024-10-17T19:44:55.496"/>
    <p1510:client id="{3EE1AA0F-CBEB-537F-F9C3-583F17F291DF}" v="170" dt="2024-10-17T19:25:18.820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3009" autoAdjust="0"/>
    <p:restoredTop sz="95510" autoAdjust="0"/>
  </p:normalViewPr>
  <p:slideViewPr>
    <p:cSldViewPr snapToGrid="0">
      <p:cViewPr varScale="1">
        <p:scale>
          <a:sx n="122" d="100"/>
          <a:sy n="122" d="100"/>
        </p:scale>
        <p:origin x="904" y="200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slide" Target="slides/slide1.xml"/><Relationship Id="rId12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microsoft.com/office/2018/10/relationships/authors" Target="author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presProps" Target="presProps.xml"/><Relationship Id="rId5" Type="http://schemas.openxmlformats.org/officeDocument/2006/relationships/slideMaster" Target="slideMasters/slideMaster2.xml"/><Relationship Id="rId15" Type="http://schemas.microsoft.com/office/2015/10/relationships/revisionInfo" Target="revisionInfo.xml"/><Relationship Id="rId10" Type="http://schemas.openxmlformats.org/officeDocument/2006/relationships/handoutMaster" Target="handoutMasters/handoutMaster1.xml"/><Relationship Id="rId4" Type="http://schemas.openxmlformats.org/officeDocument/2006/relationships/slideMaster" Target="slideMasters/slideMaster1.xml"/><Relationship Id="rId9" Type="http://schemas.openxmlformats.org/officeDocument/2006/relationships/notesMaster" Target="notesMasters/notesMaster1.xml"/><Relationship Id="rId14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>
            <a:extLst>
              <a:ext uri="{FF2B5EF4-FFF2-40B4-BE49-F238E27FC236}">
                <a16:creationId xmlns:a16="http://schemas.microsoft.com/office/drawing/2014/main" id="{310DCB21-F4D3-D1D4-CF0D-BF78D59D28E8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88A16866-EFD6-68E7-47B7-8B090D93883A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3225DF0-5E4A-495E-AD8C-CC8FDC636079}" type="datetimeFigureOut">
              <a:rPr lang="de-DE" smtClean="0"/>
              <a:t>03.06.25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8A00D9FC-B05C-D34D-37E7-C6467BDC567B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2E790B14-F39F-A965-0690-1D65B64684A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31E73CE-A8F7-4FAA-8263-09231EA4F757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592608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A5B1B49-9609-4E63-A375-FC459FA5B93F}" type="datetimeFigureOut">
              <a:rPr lang="de-DE" smtClean="0"/>
              <a:t>03.06.25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7E535FA-94A6-4DEF-8F84-D811EAB89C69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6623072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20688" y="1241425"/>
            <a:ext cx="5959475" cy="33528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16D19BE-3AE1-4040-9C45-706455FE579C}" type="slidenum">
              <a:rPr lang="en-GB" smtClean="0"/>
              <a:pPr/>
              <a:t>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357091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7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9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0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0.xml"/><Relationship Id="rId4" Type="http://schemas.openxmlformats.org/officeDocument/2006/relationships/image" Target="../media/image5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2.xml"/><Relationship Id="rId1" Type="http://schemas.openxmlformats.org/officeDocument/2006/relationships/tags" Target="../tags/tag21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2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3.xml"/><Relationship Id="rId4" Type="http://schemas.openxmlformats.org/officeDocument/2006/relationships/image" Target="../media/image6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5.xml"/><Relationship Id="rId1" Type="http://schemas.openxmlformats.org/officeDocument/2006/relationships/tags" Target="../tags/tag2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6.xml"/><Relationship Id="rId4" Type="http://schemas.openxmlformats.org/officeDocument/2006/relationships/image" Target="../media/image7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8.xml"/><Relationship Id="rId1" Type="http://schemas.openxmlformats.org/officeDocument/2006/relationships/tags" Target="../tags/tag27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6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9.xml"/><Relationship Id="rId5" Type="http://schemas.openxmlformats.org/officeDocument/2006/relationships/image" Target="../media/image8.tiff"/><Relationship Id="rId4" Type="http://schemas.openxmlformats.org/officeDocument/2006/relationships/image" Target="../media/image7.emf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0.xml"/><Relationship Id="rId4" Type="http://schemas.openxmlformats.org/officeDocument/2006/relationships/image" Target="../media/image7.emf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1.xml"/><Relationship Id="rId4" Type="http://schemas.openxmlformats.org/officeDocument/2006/relationships/image" Target="../media/image7.emf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2.xml"/><Relationship Id="rId4" Type="http://schemas.openxmlformats.org/officeDocument/2006/relationships/image" Target="../media/image7.emf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3.xml"/><Relationship Id="rId6" Type="http://schemas.microsoft.com/office/2007/relationships/hdphoto" Target="../media/hdphoto1.wdp"/><Relationship Id="rId5" Type="http://schemas.openxmlformats.org/officeDocument/2006/relationships/image" Target="../media/image9.png"/><Relationship Id="rId4" Type="http://schemas.openxmlformats.org/officeDocument/2006/relationships/image" Target="../media/image7.emf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6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0B8BE11-9C3A-E138-ACFF-BCA47A08319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9AAF9B9-678A-59B5-919E-77C4F3F1700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ED6C05C-3E09-D1BB-8D06-46288081345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FF13BA3-4DBD-492F-AF1C-C76B12832872}" type="datetime1">
              <a:rPr lang="de-DE" smtClean="0"/>
              <a:pPr/>
              <a:t>03.06.25</a:t>
            </a:fld>
            <a:endParaRPr lang="en-D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CBD8A86-4ED9-D759-7137-948F65778AF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err="1"/>
              <a:t>Senacor</a:t>
            </a:r>
            <a:r>
              <a:rPr lang="de-DE"/>
              <a:t> Technologies AG</a:t>
            </a:r>
            <a:endParaRPr lang="en-D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F7C0DFE-5884-FCE7-A622-C8AA4661F71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63DBB63-5C76-DA40-949C-F00FB53C9B50}" type="slidenum">
              <a:rPr lang="en-DE" smtClean="0"/>
              <a:pPr/>
              <a:t>‹#›</a:t>
            </a:fld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308890426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Nur Titel">
    <p:bg>
      <p:bgPr>
        <a:solidFill>
          <a:srgbClr val="37373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1FD5C9B0-1B07-4EBC-906A-D849907DEDC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1FD5C9B0-1B07-4EBC-906A-D849907DED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61F9098E-7D0E-4766-9BC5-644ACA3F13E5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635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rtl="0"/>
            <a:endParaRPr lang="en-GB" sz="2200" b="1" i="0" baseline="0">
              <a:solidFill>
                <a:schemeClr val="tx1"/>
              </a:solidFill>
              <a:latin typeface="Arial" panose="020B0604020202020204" pitchFamily="34" charset="0"/>
              <a:ea typeface="Malgun Gothic Semilight" panose="020B0502040204020203" pitchFamily="34" charset="-128"/>
              <a:cs typeface="Malgun Gothic Semilight" panose="020B0502040204020203" pitchFamily="34" charset="-128"/>
              <a:sym typeface="Arial" panose="020B0604020202020204" pitchFamily="34" charset="0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34E8994-30E7-42C9-8B97-D389F537197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87541" y="6633547"/>
            <a:ext cx="125034" cy="123111"/>
          </a:xfrm>
          <a:prstGeom prst="rect">
            <a:avLst/>
          </a:prstGeom>
        </p:spPr>
        <p:txBody>
          <a:bodyPr/>
          <a:lstStyle>
            <a:lvl1pPr algn="r" rtl="0">
              <a:defRPr/>
            </a:lvl1pPr>
          </a:lstStyle>
          <a:p>
            <a:fld id="{C50CBA42-791E-4851-9FB4-39A223136DC3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5" name="Textplatzhalter 14">
            <a:extLst>
              <a:ext uri="{FF2B5EF4-FFF2-40B4-BE49-F238E27FC236}">
                <a16:creationId xmlns:a16="http://schemas.microsoft.com/office/drawing/2014/main" id="{BB8EC43E-B232-4253-AFDF-4EF8A3B5B7F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79424" y="371143"/>
            <a:ext cx="9509760" cy="215444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/>
              <a:t>Kapitelüberschrift eingeben</a:t>
            </a:r>
          </a:p>
        </p:txBody>
      </p:sp>
      <p:sp>
        <p:nvSpPr>
          <p:cNvPr id="11" name="Fußzeilenplatzhalter 2">
            <a:extLst>
              <a:ext uri="{FF2B5EF4-FFF2-40B4-BE49-F238E27FC236}">
                <a16:creationId xmlns:a16="http://schemas.microsoft.com/office/drawing/2014/main" id="{0C8E0433-F1B2-45B9-B982-C12250ECA58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 flipH="1">
            <a:off x="479423" y="6633547"/>
            <a:ext cx="7246798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rtl="0">
              <a:defRPr lang="de-DE" sz="800">
                <a:solidFill>
                  <a:schemeClr val="tx2"/>
                </a:solidFill>
              </a:defRPr>
            </a:lvl1pPr>
          </a:lstStyle>
          <a:p>
            <a:r>
              <a:rPr lang="en-GB"/>
              <a:t>Senacor  |  Deutsche Bank  |  Request for Proposal – Miles &amp; More // Mobile app solution development </a:t>
            </a:r>
          </a:p>
        </p:txBody>
      </p:sp>
      <p:sp>
        <p:nvSpPr>
          <p:cNvPr id="12" name="Titelplatzhalter 1">
            <a:extLst>
              <a:ext uri="{FF2B5EF4-FFF2-40B4-BE49-F238E27FC236}">
                <a16:creationId xmlns:a16="http://schemas.microsoft.com/office/drawing/2014/main" id="{0144F55D-B2AB-4147-864A-90D8928AE2A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720000"/>
            <a:ext cx="11233150" cy="609398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Mastertitelformat bearbeiten</a:t>
            </a:r>
          </a:p>
        </p:txBody>
      </p:sp>
      <p:grpSp>
        <p:nvGrpSpPr>
          <p:cNvPr id="2" name="Gruppieren 1">
            <a:extLst>
              <a:ext uri="{FF2B5EF4-FFF2-40B4-BE49-F238E27FC236}">
                <a16:creationId xmlns:a16="http://schemas.microsoft.com/office/drawing/2014/main" id="{77EEEE32-E920-A948-3E5C-9AA084D4529B}"/>
              </a:ext>
            </a:extLst>
          </p:cNvPr>
          <p:cNvGrpSpPr/>
          <p:nvPr userDrawn="1"/>
        </p:nvGrpSpPr>
        <p:grpSpPr>
          <a:xfrm>
            <a:off x="10240056" y="330434"/>
            <a:ext cx="1472671" cy="212964"/>
            <a:chOff x="10240056" y="330434"/>
            <a:chExt cx="1472671" cy="212964"/>
          </a:xfrm>
        </p:grpSpPr>
        <p:sp>
          <p:nvSpPr>
            <p:cNvPr id="7" name="Freihandform: Form 11">
              <a:extLst>
                <a:ext uri="{FF2B5EF4-FFF2-40B4-BE49-F238E27FC236}">
                  <a16:creationId xmlns:a16="http://schemas.microsoft.com/office/drawing/2014/main" id="{EEAFDB23-3869-71B5-E9C3-F401DCA345DD}"/>
                </a:ext>
              </a:extLst>
            </p:cNvPr>
            <p:cNvSpPr/>
            <p:nvPr/>
          </p:nvSpPr>
          <p:spPr>
            <a:xfrm>
              <a:off x="10602134" y="335724"/>
              <a:ext cx="213948" cy="204724"/>
            </a:xfrm>
            <a:custGeom>
              <a:avLst/>
              <a:gdLst>
                <a:gd name="connsiteX0" fmla="*/ 160491 w 213948"/>
                <a:gd name="connsiteY0" fmla="*/ 14175 h 204724"/>
                <a:gd name="connsiteX1" fmla="*/ 163136 w 213948"/>
                <a:gd name="connsiteY1" fmla="*/ 14327 h 204724"/>
                <a:gd name="connsiteX2" fmla="*/ 176854 w 213948"/>
                <a:gd name="connsiteY2" fmla="*/ 36064 h 204724"/>
                <a:gd name="connsiteX3" fmla="*/ 176854 w 213948"/>
                <a:gd name="connsiteY3" fmla="*/ 144712 h 204724"/>
                <a:gd name="connsiteX4" fmla="*/ 49408 w 213948"/>
                <a:gd name="connsiteY4" fmla="*/ 0 h 204724"/>
                <a:gd name="connsiteX5" fmla="*/ 4834 w 213948"/>
                <a:gd name="connsiteY5" fmla="*/ 0 h 204724"/>
                <a:gd name="connsiteX6" fmla="*/ 4834 w 213948"/>
                <a:gd name="connsiteY6" fmla="*/ 13894 h 204724"/>
                <a:gd name="connsiteX7" fmla="*/ 7292 w 213948"/>
                <a:gd name="connsiteY7" fmla="*/ 14140 h 204724"/>
                <a:gd name="connsiteX8" fmla="*/ 16727 w 213948"/>
                <a:gd name="connsiteY8" fmla="*/ 21163 h 204724"/>
                <a:gd name="connsiteX9" fmla="*/ 16727 w 213948"/>
                <a:gd name="connsiteY9" fmla="*/ 164821 h 204724"/>
                <a:gd name="connsiteX10" fmla="*/ 2681 w 213948"/>
                <a:gd name="connsiteY10" fmla="*/ 188372 h 204724"/>
                <a:gd name="connsiteX11" fmla="*/ 0 w 213948"/>
                <a:gd name="connsiteY11" fmla="*/ 188513 h 204724"/>
                <a:gd name="connsiteX12" fmla="*/ 0 w 213948"/>
                <a:gd name="connsiteY12" fmla="*/ 202559 h 204724"/>
                <a:gd name="connsiteX13" fmla="*/ 54523 w 213948"/>
                <a:gd name="connsiteY13" fmla="*/ 202559 h 204724"/>
                <a:gd name="connsiteX14" fmla="*/ 54523 w 213948"/>
                <a:gd name="connsiteY14" fmla="*/ 188665 h 204724"/>
                <a:gd name="connsiteX15" fmla="*/ 51936 w 213948"/>
                <a:gd name="connsiteY15" fmla="*/ 188466 h 204724"/>
                <a:gd name="connsiteX16" fmla="*/ 38580 w 213948"/>
                <a:gd name="connsiteY16" fmla="*/ 162457 h 204724"/>
                <a:gd name="connsiteX17" fmla="*/ 38580 w 213948"/>
                <a:gd name="connsiteY17" fmla="*/ 46048 h 204724"/>
                <a:gd name="connsiteX18" fmla="*/ 177873 w 213948"/>
                <a:gd name="connsiteY18" fmla="*/ 203776 h 204724"/>
                <a:gd name="connsiteX19" fmla="*/ 178716 w 213948"/>
                <a:gd name="connsiteY19" fmla="*/ 204724 h 204724"/>
                <a:gd name="connsiteX20" fmla="*/ 198708 w 213948"/>
                <a:gd name="connsiteY20" fmla="*/ 204724 h 204724"/>
                <a:gd name="connsiteX21" fmla="*/ 198708 w 213948"/>
                <a:gd name="connsiteY21" fmla="*/ 39271 h 204724"/>
                <a:gd name="connsiteX22" fmla="*/ 211373 w 213948"/>
                <a:gd name="connsiteY22" fmla="*/ 14421 h 204724"/>
                <a:gd name="connsiteX23" fmla="*/ 213948 w 213948"/>
                <a:gd name="connsiteY23" fmla="*/ 14198 h 204724"/>
                <a:gd name="connsiteX24" fmla="*/ 213948 w 213948"/>
                <a:gd name="connsiteY24" fmla="*/ 0 h 204724"/>
                <a:gd name="connsiteX25" fmla="*/ 160491 w 213948"/>
                <a:gd name="connsiteY25" fmla="*/ 0 h 2047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213948" h="204724">
                  <a:moveTo>
                    <a:pt x="160491" y="14175"/>
                  </a:moveTo>
                  <a:lnTo>
                    <a:pt x="163136" y="14327"/>
                  </a:lnTo>
                  <a:cubicBezTo>
                    <a:pt x="176878" y="15111"/>
                    <a:pt x="176878" y="17909"/>
                    <a:pt x="176854" y="36064"/>
                  </a:cubicBezTo>
                  <a:lnTo>
                    <a:pt x="176854" y="144712"/>
                  </a:lnTo>
                  <a:lnTo>
                    <a:pt x="49408" y="0"/>
                  </a:lnTo>
                  <a:lnTo>
                    <a:pt x="4834" y="0"/>
                  </a:lnTo>
                  <a:lnTo>
                    <a:pt x="4834" y="13894"/>
                  </a:lnTo>
                  <a:lnTo>
                    <a:pt x="7292" y="14140"/>
                  </a:lnTo>
                  <a:cubicBezTo>
                    <a:pt x="14655" y="14643"/>
                    <a:pt x="16586" y="17101"/>
                    <a:pt x="16727" y="21163"/>
                  </a:cubicBezTo>
                  <a:lnTo>
                    <a:pt x="16727" y="164821"/>
                  </a:lnTo>
                  <a:cubicBezTo>
                    <a:pt x="16727" y="182882"/>
                    <a:pt x="16727" y="187728"/>
                    <a:pt x="2681" y="188372"/>
                  </a:cubicBezTo>
                  <a:lnTo>
                    <a:pt x="0" y="188513"/>
                  </a:lnTo>
                  <a:lnTo>
                    <a:pt x="0" y="202559"/>
                  </a:lnTo>
                  <a:lnTo>
                    <a:pt x="54523" y="202559"/>
                  </a:lnTo>
                  <a:lnTo>
                    <a:pt x="54523" y="188665"/>
                  </a:lnTo>
                  <a:lnTo>
                    <a:pt x="51936" y="188466"/>
                  </a:lnTo>
                  <a:cubicBezTo>
                    <a:pt x="38557" y="187424"/>
                    <a:pt x="38569" y="182145"/>
                    <a:pt x="38580" y="162457"/>
                  </a:cubicBezTo>
                  <a:lnTo>
                    <a:pt x="38580" y="46048"/>
                  </a:lnTo>
                  <a:lnTo>
                    <a:pt x="177873" y="203776"/>
                  </a:lnTo>
                  <a:lnTo>
                    <a:pt x="178716" y="204724"/>
                  </a:lnTo>
                  <a:lnTo>
                    <a:pt x="198708" y="204724"/>
                  </a:lnTo>
                  <a:lnTo>
                    <a:pt x="198708" y="39271"/>
                  </a:lnTo>
                  <a:cubicBezTo>
                    <a:pt x="198708" y="19080"/>
                    <a:pt x="199797" y="15521"/>
                    <a:pt x="211373" y="14421"/>
                  </a:cubicBezTo>
                  <a:lnTo>
                    <a:pt x="213948" y="14198"/>
                  </a:lnTo>
                  <a:lnTo>
                    <a:pt x="213948" y="0"/>
                  </a:lnTo>
                  <a:lnTo>
                    <a:pt x="160491" y="0"/>
                  </a:lnTo>
                  <a:close/>
                </a:path>
              </a:pathLst>
            </a:custGeom>
            <a:solidFill>
              <a:schemeClr val="bg1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8" name="Freihandform: Form 12">
              <a:extLst>
                <a:ext uri="{FF2B5EF4-FFF2-40B4-BE49-F238E27FC236}">
                  <a16:creationId xmlns:a16="http://schemas.microsoft.com/office/drawing/2014/main" id="{7850659E-6967-7F25-D3A2-BDABA87E380C}"/>
                </a:ext>
              </a:extLst>
            </p:cNvPr>
            <p:cNvSpPr/>
            <p:nvPr/>
          </p:nvSpPr>
          <p:spPr>
            <a:xfrm>
              <a:off x="10240056" y="330434"/>
              <a:ext cx="150166" cy="212964"/>
            </a:xfrm>
            <a:custGeom>
              <a:avLst/>
              <a:gdLst>
                <a:gd name="connsiteX0" fmla="*/ 87918 w 150166"/>
                <a:gd name="connsiteY0" fmla="*/ 86267 h 212964"/>
                <a:gd name="connsiteX1" fmla="*/ 87918 w 150166"/>
                <a:gd name="connsiteY1" fmla="*/ 86267 h 212964"/>
                <a:gd name="connsiteX2" fmla="*/ 43309 w 150166"/>
                <a:gd name="connsiteY2" fmla="*/ 46282 h 212964"/>
                <a:gd name="connsiteX3" fmla="*/ 73427 w 150166"/>
                <a:gd name="connsiteY3" fmla="*/ 17078 h 212964"/>
                <a:gd name="connsiteX4" fmla="*/ 120248 w 150166"/>
                <a:gd name="connsiteY4" fmla="*/ 39739 h 212964"/>
                <a:gd name="connsiteX5" fmla="*/ 121032 w 150166"/>
                <a:gd name="connsiteY5" fmla="*/ 41331 h 212964"/>
                <a:gd name="connsiteX6" fmla="*/ 136109 w 150166"/>
                <a:gd name="connsiteY6" fmla="*/ 41167 h 212964"/>
                <a:gd name="connsiteX7" fmla="*/ 129589 w 150166"/>
                <a:gd name="connsiteY7" fmla="*/ 3078 h 212964"/>
                <a:gd name="connsiteX8" fmla="*/ 120026 w 150166"/>
                <a:gd name="connsiteY8" fmla="*/ 3078 h 212964"/>
                <a:gd name="connsiteX9" fmla="*/ 118551 w 150166"/>
                <a:gd name="connsiteY9" fmla="*/ 3746 h 212964"/>
                <a:gd name="connsiteX10" fmla="*/ 110977 w 150166"/>
                <a:gd name="connsiteY10" fmla="*/ 5384 h 212964"/>
                <a:gd name="connsiteX11" fmla="*/ 101438 w 150166"/>
                <a:gd name="connsiteY11" fmla="*/ 3804 h 212964"/>
                <a:gd name="connsiteX12" fmla="*/ 95807 w 150166"/>
                <a:gd name="connsiteY12" fmla="*/ 2634 h 212964"/>
                <a:gd name="connsiteX13" fmla="*/ 69412 w 150166"/>
                <a:gd name="connsiteY13" fmla="*/ 0 h 212964"/>
                <a:gd name="connsiteX14" fmla="*/ 5103 w 150166"/>
                <a:gd name="connsiteY14" fmla="*/ 55096 h 212964"/>
                <a:gd name="connsiteX15" fmla="*/ 63817 w 150166"/>
                <a:gd name="connsiteY15" fmla="*/ 117415 h 212964"/>
                <a:gd name="connsiteX16" fmla="*/ 110966 w 150166"/>
                <a:gd name="connsiteY16" fmla="*/ 162094 h 212964"/>
                <a:gd name="connsiteX17" fmla="*/ 72093 w 150166"/>
                <a:gd name="connsiteY17" fmla="*/ 193944 h 212964"/>
                <a:gd name="connsiteX18" fmla="*/ 15030 w 150166"/>
                <a:gd name="connsiteY18" fmla="*/ 167174 h 212964"/>
                <a:gd name="connsiteX19" fmla="*/ 14327 w 150166"/>
                <a:gd name="connsiteY19" fmla="*/ 165418 h 212964"/>
                <a:gd name="connsiteX20" fmla="*/ 0 w 150166"/>
                <a:gd name="connsiteY20" fmla="*/ 165418 h 212964"/>
                <a:gd name="connsiteX21" fmla="*/ 6368 w 150166"/>
                <a:gd name="connsiteY21" fmla="*/ 208283 h 212964"/>
                <a:gd name="connsiteX22" fmla="*/ 17932 w 150166"/>
                <a:gd name="connsiteY22" fmla="*/ 208283 h 212964"/>
                <a:gd name="connsiteX23" fmla="*/ 18740 w 150166"/>
                <a:gd name="connsiteY23" fmla="*/ 207510 h 212964"/>
                <a:gd name="connsiteX24" fmla="*/ 25997 w 150166"/>
                <a:gd name="connsiteY24" fmla="*/ 205895 h 212964"/>
                <a:gd name="connsiteX25" fmla="*/ 38393 w 150166"/>
                <a:gd name="connsiteY25" fmla="*/ 208107 h 212964"/>
                <a:gd name="connsiteX26" fmla="*/ 74445 w 150166"/>
                <a:gd name="connsiteY26" fmla="*/ 212965 h 212964"/>
                <a:gd name="connsiteX27" fmla="*/ 150167 w 150166"/>
                <a:gd name="connsiteY27" fmla="*/ 152648 h 212964"/>
                <a:gd name="connsiteX28" fmla="*/ 87930 w 150166"/>
                <a:gd name="connsiteY28" fmla="*/ 86267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150166" h="212964">
                  <a:moveTo>
                    <a:pt x="87918" y="86267"/>
                  </a:moveTo>
                  <a:lnTo>
                    <a:pt x="87918" y="86267"/>
                  </a:lnTo>
                  <a:cubicBezTo>
                    <a:pt x="64976" y="74750"/>
                    <a:pt x="43309" y="63864"/>
                    <a:pt x="43309" y="46282"/>
                  </a:cubicBezTo>
                  <a:cubicBezTo>
                    <a:pt x="43309" y="34507"/>
                    <a:pt x="52884" y="17078"/>
                    <a:pt x="73427" y="17078"/>
                  </a:cubicBezTo>
                  <a:cubicBezTo>
                    <a:pt x="97142" y="17078"/>
                    <a:pt x="111305" y="23574"/>
                    <a:pt x="120248" y="39739"/>
                  </a:cubicBezTo>
                  <a:lnTo>
                    <a:pt x="121032" y="41331"/>
                  </a:lnTo>
                  <a:lnTo>
                    <a:pt x="136109" y="41167"/>
                  </a:lnTo>
                  <a:lnTo>
                    <a:pt x="129589" y="3078"/>
                  </a:lnTo>
                  <a:lnTo>
                    <a:pt x="120026" y="3078"/>
                  </a:lnTo>
                  <a:lnTo>
                    <a:pt x="118551" y="3746"/>
                  </a:lnTo>
                  <a:cubicBezTo>
                    <a:pt x="116205" y="4922"/>
                    <a:pt x="113600" y="5486"/>
                    <a:pt x="110977" y="5384"/>
                  </a:cubicBezTo>
                  <a:cubicBezTo>
                    <a:pt x="106998" y="5232"/>
                    <a:pt x="105242" y="4577"/>
                    <a:pt x="101438" y="3804"/>
                  </a:cubicBezTo>
                  <a:cubicBezTo>
                    <a:pt x="99822" y="3465"/>
                    <a:pt x="98031" y="3008"/>
                    <a:pt x="95807" y="2634"/>
                  </a:cubicBezTo>
                  <a:cubicBezTo>
                    <a:pt x="87117" y="890"/>
                    <a:pt x="78276" y="8"/>
                    <a:pt x="69412" y="0"/>
                  </a:cubicBezTo>
                  <a:cubicBezTo>
                    <a:pt x="33945" y="0"/>
                    <a:pt x="5103" y="24710"/>
                    <a:pt x="5103" y="55096"/>
                  </a:cubicBezTo>
                  <a:cubicBezTo>
                    <a:pt x="5103" y="85846"/>
                    <a:pt x="34952" y="101917"/>
                    <a:pt x="63817" y="117415"/>
                  </a:cubicBezTo>
                  <a:cubicBezTo>
                    <a:pt x="88059" y="130455"/>
                    <a:pt x="110966" y="142804"/>
                    <a:pt x="110966" y="162094"/>
                  </a:cubicBezTo>
                  <a:cubicBezTo>
                    <a:pt x="110966" y="180249"/>
                    <a:pt x="94251" y="193944"/>
                    <a:pt x="72093" y="193944"/>
                  </a:cubicBezTo>
                  <a:cubicBezTo>
                    <a:pt x="41799" y="193944"/>
                    <a:pt x="23130" y="185177"/>
                    <a:pt x="15030" y="167174"/>
                  </a:cubicBezTo>
                  <a:lnTo>
                    <a:pt x="14327" y="165418"/>
                  </a:lnTo>
                  <a:lnTo>
                    <a:pt x="0" y="165418"/>
                  </a:lnTo>
                  <a:lnTo>
                    <a:pt x="6368" y="208283"/>
                  </a:lnTo>
                  <a:lnTo>
                    <a:pt x="17932" y="208283"/>
                  </a:lnTo>
                  <a:lnTo>
                    <a:pt x="18740" y="207510"/>
                  </a:lnTo>
                  <a:cubicBezTo>
                    <a:pt x="20461" y="205965"/>
                    <a:pt x="22603" y="205860"/>
                    <a:pt x="25997" y="205895"/>
                  </a:cubicBezTo>
                  <a:cubicBezTo>
                    <a:pt x="29392" y="205930"/>
                    <a:pt x="33313" y="206878"/>
                    <a:pt x="38393" y="208107"/>
                  </a:cubicBezTo>
                  <a:cubicBezTo>
                    <a:pt x="50154" y="211257"/>
                    <a:pt x="62270" y="212889"/>
                    <a:pt x="74445" y="212965"/>
                  </a:cubicBezTo>
                  <a:cubicBezTo>
                    <a:pt x="118328" y="212965"/>
                    <a:pt x="150167" y="187600"/>
                    <a:pt x="150167" y="152648"/>
                  </a:cubicBezTo>
                  <a:cubicBezTo>
                    <a:pt x="150167" y="117696"/>
                    <a:pt x="117052" y="100922"/>
                    <a:pt x="87930" y="86267"/>
                  </a:cubicBezTo>
                </a:path>
              </a:pathLst>
            </a:custGeom>
            <a:solidFill>
              <a:schemeClr val="bg1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13" name="Freihandform: Form 13">
              <a:extLst>
                <a:ext uri="{FF2B5EF4-FFF2-40B4-BE49-F238E27FC236}">
                  <a16:creationId xmlns:a16="http://schemas.microsoft.com/office/drawing/2014/main" id="{B9B5FBBE-8967-90A8-7276-5FD57D673D0E}"/>
                </a:ext>
              </a:extLst>
            </p:cNvPr>
            <p:cNvSpPr/>
            <p:nvPr/>
          </p:nvSpPr>
          <p:spPr>
            <a:xfrm>
              <a:off x="10421346" y="335748"/>
              <a:ext cx="149780" cy="202570"/>
            </a:xfrm>
            <a:custGeom>
              <a:avLst/>
              <a:gdLst>
                <a:gd name="connsiteX0" fmla="*/ 10184 w 149780"/>
                <a:gd name="connsiteY0" fmla="*/ 176725 h 202570"/>
                <a:gd name="connsiteX1" fmla="*/ 2540 w 149780"/>
                <a:gd name="connsiteY1" fmla="*/ 187986 h 202570"/>
                <a:gd name="connsiteX2" fmla="*/ 0 w 149780"/>
                <a:gd name="connsiteY2" fmla="*/ 188232 h 202570"/>
                <a:gd name="connsiteX3" fmla="*/ 0 w 149780"/>
                <a:gd name="connsiteY3" fmla="*/ 202571 h 202570"/>
                <a:gd name="connsiteX4" fmla="*/ 144864 w 149780"/>
                <a:gd name="connsiteY4" fmla="*/ 202571 h 202570"/>
                <a:gd name="connsiteX5" fmla="*/ 149780 w 149780"/>
                <a:gd name="connsiteY5" fmla="*/ 162059 h 202570"/>
                <a:gd name="connsiteX6" fmla="*/ 134563 w 149780"/>
                <a:gd name="connsiteY6" fmla="*/ 162176 h 202570"/>
                <a:gd name="connsiteX7" fmla="*/ 133943 w 149780"/>
                <a:gd name="connsiteY7" fmla="*/ 164107 h 202570"/>
                <a:gd name="connsiteX8" fmla="*/ 101379 w 149780"/>
                <a:gd name="connsiteY8" fmla="*/ 182754 h 202570"/>
                <a:gd name="connsiteX9" fmla="*/ 64192 w 149780"/>
                <a:gd name="connsiteY9" fmla="*/ 182754 h 202570"/>
                <a:gd name="connsiteX10" fmla="*/ 49244 w 149780"/>
                <a:gd name="connsiteY10" fmla="*/ 162749 h 202570"/>
                <a:gd name="connsiteX11" fmla="*/ 49244 w 149780"/>
                <a:gd name="connsiteY11" fmla="*/ 107875 h 202570"/>
                <a:gd name="connsiteX12" fmla="*/ 89042 w 149780"/>
                <a:gd name="connsiteY12" fmla="*/ 107875 h 202570"/>
                <a:gd name="connsiteX13" fmla="*/ 107630 w 149780"/>
                <a:gd name="connsiteY13" fmla="*/ 118878 h 202570"/>
                <a:gd name="connsiteX14" fmla="*/ 108051 w 149780"/>
                <a:gd name="connsiteY14" fmla="*/ 121219 h 202570"/>
                <a:gd name="connsiteX15" fmla="*/ 122542 w 149780"/>
                <a:gd name="connsiteY15" fmla="*/ 121219 h 202570"/>
                <a:gd name="connsiteX16" fmla="*/ 122542 w 149780"/>
                <a:gd name="connsiteY16" fmla="*/ 75569 h 202570"/>
                <a:gd name="connsiteX17" fmla="*/ 108285 w 149780"/>
                <a:gd name="connsiteY17" fmla="*/ 75569 h 202570"/>
                <a:gd name="connsiteX18" fmla="*/ 107934 w 149780"/>
                <a:gd name="connsiteY18" fmla="*/ 77910 h 202570"/>
                <a:gd name="connsiteX19" fmla="*/ 89042 w 149780"/>
                <a:gd name="connsiteY19" fmla="*/ 88105 h 202570"/>
                <a:gd name="connsiteX20" fmla="*/ 49244 w 149780"/>
                <a:gd name="connsiteY20" fmla="*/ 88105 h 202570"/>
                <a:gd name="connsiteX21" fmla="*/ 49244 w 149780"/>
                <a:gd name="connsiteY21" fmla="*/ 19829 h 202570"/>
                <a:gd name="connsiteX22" fmla="*/ 102550 w 149780"/>
                <a:gd name="connsiteY22" fmla="*/ 19829 h 202570"/>
                <a:gd name="connsiteX23" fmla="*/ 124310 w 149780"/>
                <a:gd name="connsiteY23" fmla="*/ 34226 h 202570"/>
                <a:gd name="connsiteX24" fmla="*/ 124883 w 149780"/>
                <a:gd name="connsiteY24" fmla="*/ 36286 h 202570"/>
                <a:gd name="connsiteX25" fmla="*/ 140100 w 149780"/>
                <a:gd name="connsiteY25" fmla="*/ 36286 h 202570"/>
                <a:gd name="connsiteX26" fmla="*/ 137595 w 149780"/>
                <a:gd name="connsiteY26" fmla="*/ 0 h 202570"/>
                <a:gd name="connsiteX27" fmla="*/ 222 w 149780"/>
                <a:gd name="connsiteY27" fmla="*/ 0 h 202570"/>
                <a:gd name="connsiteX28" fmla="*/ 222 w 149780"/>
                <a:gd name="connsiteY28" fmla="*/ 14198 h 202570"/>
                <a:gd name="connsiteX29" fmla="*/ 2798 w 149780"/>
                <a:gd name="connsiteY29" fmla="*/ 14374 h 202570"/>
                <a:gd name="connsiteX30" fmla="*/ 10207 w 149780"/>
                <a:gd name="connsiteY30" fmla="*/ 32412 h 2025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149780" h="202570">
                  <a:moveTo>
                    <a:pt x="10184" y="176725"/>
                  </a:moveTo>
                  <a:cubicBezTo>
                    <a:pt x="9973" y="184626"/>
                    <a:pt x="9774" y="187260"/>
                    <a:pt x="2540" y="187986"/>
                  </a:cubicBezTo>
                  <a:lnTo>
                    <a:pt x="0" y="188232"/>
                  </a:lnTo>
                  <a:lnTo>
                    <a:pt x="0" y="202571"/>
                  </a:lnTo>
                  <a:lnTo>
                    <a:pt x="144864" y="202571"/>
                  </a:lnTo>
                  <a:lnTo>
                    <a:pt x="149780" y="162059"/>
                  </a:lnTo>
                  <a:lnTo>
                    <a:pt x="134563" y="162176"/>
                  </a:lnTo>
                  <a:lnTo>
                    <a:pt x="133943" y="164107"/>
                  </a:lnTo>
                  <a:cubicBezTo>
                    <a:pt x="127927" y="182964"/>
                    <a:pt x="121734" y="182906"/>
                    <a:pt x="101379" y="182754"/>
                  </a:cubicBezTo>
                  <a:lnTo>
                    <a:pt x="64192" y="182754"/>
                  </a:lnTo>
                  <a:cubicBezTo>
                    <a:pt x="49654" y="182754"/>
                    <a:pt x="49244" y="179909"/>
                    <a:pt x="49244" y="162749"/>
                  </a:cubicBezTo>
                  <a:lnTo>
                    <a:pt x="49244" y="107875"/>
                  </a:lnTo>
                  <a:lnTo>
                    <a:pt x="89042" y="107875"/>
                  </a:lnTo>
                  <a:cubicBezTo>
                    <a:pt x="102292" y="107875"/>
                    <a:pt x="105066" y="108168"/>
                    <a:pt x="107630" y="118878"/>
                  </a:cubicBezTo>
                  <a:lnTo>
                    <a:pt x="108051" y="121219"/>
                  </a:lnTo>
                  <a:lnTo>
                    <a:pt x="122542" y="121219"/>
                  </a:lnTo>
                  <a:lnTo>
                    <a:pt x="122542" y="75569"/>
                  </a:lnTo>
                  <a:lnTo>
                    <a:pt x="108285" y="75569"/>
                  </a:lnTo>
                  <a:lnTo>
                    <a:pt x="107934" y="77910"/>
                  </a:lnTo>
                  <a:cubicBezTo>
                    <a:pt x="106248" y="87368"/>
                    <a:pt x="103158" y="88105"/>
                    <a:pt x="89042" y="88105"/>
                  </a:cubicBezTo>
                  <a:lnTo>
                    <a:pt x="49244" y="88105"/>
                  </a:lnTo>
                  <a:lnTo>
                    <a:pt x="49244" y="19829"/>
                  </a:lnTo>
                  <a:lnTo>
                    <a:pt x="102550" y="19829"/>
                  </a:lnTo>
                  <a:cubicBezTo>
                    <a:pt x="116233" y="19829"/>
                    <a:pt x="120716" y="19829"/>
                    <a:pt x="124310" y="34226"/>
                  </a:cubicBezTo>
                  <a:lnTo>
                    <a:pt x="124883" y="36286"/>
                  </a:lnTo>
                  <a:lnTo>
                    <a:pt x="140100" y="36286"/>
                  </a:lnTo>
                  <a:lnTo>
                    <a:pt x="137595" y="0"/>
                  </a:lnTo>
                  <a:lnTo>
                    <a:pt x="222" y="0"/>
                  </a:lnTo>
                  <a:lnTo>
                    <a:pt x="222" y="14198"/>
                  </a:lnTo>
                  <a:lnTo>
                    <a:pt x="2798" y="14374"/>
                  </a:lnTo>
                  <a:cubicBezTo>
                    <a:pt x="10102" y="15252"/>
                    <a:pt x="10113" y="17886"/>
                    <a:pt x="10207" y="32412"/>
                  </a:cubicBezTo>
                  <a:close/>
                </a:path>
              </a:pathLst>
            </a:custGeom>
            <a:solidFill>
              <a:schemeClr val="bg1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14" name="Freihandform: Form 14">
              <a:extLst>
                <a:ext uri="{FF2B5EF4-FFF2-40B4-BE49-F238E27FC236}">
                  <a16:creationId xmlns:a16="http://schemas.microsoft.com/office/drawing/2014/main" id="{5BFB7856-58D6-9F96-815D-5478CAA15AC2}"/>
                </a:ext>
              </a:extLst>
            </p:cNvPr>
            <p:cNvSpPr/>
            <p:nvPr/>
          </p:nvSpPr>
          <p:spPr>
            <a:xfrm>
              <a:off x="11496262" y="332657"/>
              <a:ext cx="216465" cy="208540"/>
            </a:xfrm>
            <a:custGeom>
              <a:avLst/>
              <a:gdLst>
                <a:gd name="connsiteX0" fmla="*/ 145742 w 216465"/>
                <a:gd name="connsiteY0" fmla="*/ 131087 h 208540"/>
                <a:gd name="connsiteX1" fmla="*/ 125609 w 216465"/>
                <a:gd name="connsiteY1" fmla="*/ 111902 h 208540"/>
                <a:gd name="connsiteX2" fmla="*/ 162609 w 216465"/>
                <a:gd name="connsiteY2" fmla="*/ 59556 h 208540"/>
                <a:gd name="connsiteX3" fmla="*/ 74738 w 216465"/>
                <a:gd name="connsiteY3" fmla="*/ 0 h 208540"/>
                <a:gd name="connsiteX4" fmla="*/ 36321 w 216465"/>
                <a:gd name="connsiteY4" fmla="*/ 632 h 208540"/>
                <a:gd name="connsiteX5" fmla="*/ 15147 w 216465"/>
                <a:gd name="connsiteY5" fmla="*/ 1662 h 208540"/>
                <a:gd name="connsiteX6" fmla="*/ 6450 w 216465"/>
                <a:gd name="connsiteY6" fmla="*/ 2247 h 208540"/>
                <a:gd name="connsiteX7" fmla="*/ 6450 w 216465"/>
                <a:gd name="connsiteY7" fmla="*/ 16586 h 208540"/>
                <a:gd name="connsiteX8" fmla="*/ 8978 w 216465"/>
                <a:gd name="connsiteY8" fmla="*/ 16703 h 208540"/>
                <a:gd name="connsiteX9" fmla="*/ 17698 w 216465"/>
                <a:gd name="connsiteY9" fmla="*/ 25061 h 208540"/>
                <a:gd name="connsiteX10" fmla="*/ 17581 w 216465"/>
                <a:gd name="connsiteY10" fmla="*/ 173413 h 208540"/>
                <a:gd name="connsiteX11" fmla="*/ 2669 w 216465"/>
                <a:gd name="connsiteY11" fmla="*/ 191486 h 208540"/>
                <a:gd name="connsiteX12" fmla="*/ 0 w 216465"/>
                <a:gd name="connsiteY12" fmla="*/ 191626 h 208540"/>
                <a:gd name="connsiteX13" fmla="*/ 0 w 216465"/>
                <a:gd name="connsiteY13" fmla="*/ 205672 h 208540"/>
                <a:gd name="connsiteX14" fmla="*/ 76435 w 216465"/>
                <a:gd name="connsiteY14" fmla="*/ 205672 h 208540"/>
                <a:gd name="connsiteX15" fmla="*/ 76435 w 216465"/>
                <a:gd name="connsiteY15" fmla="*/ 191544 h 208540"/>
                <a:gd name="connsiteX16" fmla="*/ 73790 w 216465"/>
                <a:gd name="connsiteY16" fmla="*/ 191544 h 208540"/>
                <a:gd name="connsiteX17" fmla="*/ 58374 w 216465"/>
                <a:gd name="connsiteY17" fmla="*/ 164353 h 208540"/>
                <a:gd name="connsiteX18" fmla="*/ 58374 w 216465"/>
                <a:gd name="connsiteY18" fmla="*/ 124192 h 208540"/>
                <a:gd name="connsiteX19" fmla="*/ 82651 w 216465"/>
                <a:gd name="connsiteY19" fmla="*/ 123982 h 208540"/>
                <a:gd name="connsiteX20" fmla="*/ 115425 w 216465"/>
                <a:gd name="connsiteY20" fmla="*/ 153526 h 208540"/>
                <a:gd name="connsiteX21" fmla="*/ 132035 w 216465"/>
                <a:gd name="connsiteY21" fmla="*/ 170276 h 208540"/>
                <a:gd name="connsiteX22" fmla="*/ 141926 w 216465"/>
                <a:gd name="connsiteY22" fmla="*/ 180612 h 208540"/>
                <a:gd name="connsiteX23" fmla="*/ 148797 w 216465"/>
                <a:gd name="connsiteY23" fmla="*/ 188232 h 208540"/>
                <a:gd name="connsiteX24" fmla="*/ 201798 w 216465"/>
                <a:gd name="connsiteY24" fmla="*/ 208540 h 208540"/>
                <a:gd name="connsiteX25" fmla="*/ 213281 w 216465"/>
                <a:gd name="connsiteY25" fmla="*/ 208376 h 208540"/>
                <a:gd name="connsiteX26" fmla="*/ 216465 w 216465"/>
                <a:gd name="connsiteY26" fmla="*/ 208306 h 208540"/>
                <a:gd name="connsiteX27" fmla="*/ 216465 w 216465"/>
                <a:gd name="connsiteY27" fmla="*/ 194201 h 208540"/>
                <a:gd name="connsiteX28" fmla="*/ 213504 w 216465"/>
                <a:gd name="connsiteY28" fmla="*/ 193932 h 208540"/>
                <a:gd name="connsiteX29" fmla="*/ 213504 w 216465"/>
                <a:gd name="connsiteY29" fmla="*/ 193932 h 208540"/>
                <a:gd name="connsiteX30" fmla="*/ 190316 w 216465"/>
                <a:gd name="connsiteY30" fmla="*/ 177159 h 208540"/>
                <a:gd name="connsiteX31" fmla="*/ 171131 w 216465"/>
                <a:gd name="connsiteY31" fmla="*/ 156967 h 208540"/>
                <a:gd name="connsiteX32" fmla="*/ 119031 w 216465"/>
                <a:gd name="connsiteY32" fmla="*/ 62728 h 208540"/>
                <a:gd name="connsiteX33" fmla="*/ 65713 w 216465"/>
                <a:gd name="connsiteY33" fmla="*/ 110041 h 208540"/>
                <a:gd name="connsiteX34" fmla="*/ 58397 w 216465"/>
                <a:gd name="connsiteY34" fmla="*/ 109725 h 208540"/>
                <a:gd name="connsiteX35" fmla="*/ 58397 w 216465"/>
                <a:gd name="connsiteY35" fmla="*/ 15334 h 208540"/>
                <a:gd name="connsiteX36" fmla="*/ 71542 w 216465"/>
                <a:gd name="connsiteY36" fmla="*/ 15182 h 208540"/>
                <a:gd name="connsiteX37" fmla="*/ 119031 w 216465"/>
                <a:gd name="connsiteY37" fmla="*/ 62728 h 2085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16465" h="208540">
                  <a:moveTo>
                    <a:pt x="145742" y="131087"/>
                  </a:moveTo>
                  <a:cubicBezTo>
                    <a:pt x="143541" y="128874"/>
                    <a:pt x="132632" y="117930"/>
                    <a:pt x="125609" y="111902"/>
                  </a:cubicBezTo>
                  <a:cubicBezTo>
                    <a:pt x="150190" y="100325"/>
                    <a:pt x="162609" y="82721"/>
                    <a:pt x="162609" y="59556"/>
                  </a:cubicBezTo>
                  <a:cubicBezTo>
                    <a:pt x="162609" y="41647"/>
                    <a:pt x="154053" y="0"/>
                    <a:pt x="74738" y="0"/>
                  </a:cubicBezTo>
                  <a:cubicBezTo>
                    <a:pt x="68242" y="0"/>
                    <a:pt x="53037" y="0"/>
                    <a:pt x="36321" y="632"/>
                  </a:cubicBezTo>
                  <a:cubicBezTo>
                    <a:pt x="26243" y="1077"/>
                    <a:pt x="20332" y="1393"/>
                    <a:pt x="15147" y="1662"/>
                  </a:cubicBezTo>
                  <a:lnTo>
                    <a:pt x="6450" y="2247"/>
                  </a:lnTo>
                  <a:lnTo>
                    <a:pt x="6450" y="16586"/>
                  </a:lnTo>
                  <a:lnTo>
                    <a:pt x="8978" y="16703"/>
                  </a:lnTo>
                  <a:cubicBezTo>
                    <a:pt x="15240" y="17160"/>
                    <a:pt x="17616" y="18787"/>
                    <a:pt x="17698" y="25061"/>
                  </a:cubicBezTo>
                  <a:lnTo>
                    <a:pt x="17581" y="173413"/>
                  </a:lnTo>
                  <a:cubicBezTo>
                    <a:pt x="17195" y="185715"/>
                    <a:pt x="16411" y="190842"/>
                    <a:pt x="2669" y="191486"/>
                  </a:cubicBezTo>
                  <a:lnTo>
                    <a:pt x="0" y="191626"/>
                  </a:lnTo>
                  <a:lnTo>
                    <a:pt x="0" y="205672"/>
                  </a:lnTo>
                  <a:lnTo>
                    <a:pt x="76435" y="205672"/>
                  </a:lnTo>
                  <a:lnTo>
                    <a:pt x="76435" y="191544"/>
                  </a:lnTo>
                  <a:lnTo>
                    <a:pt x="73790" y="191544"/>
                  </a:lnTo>
                  <a:cubicBezTo>
                    <a:pt x="58362" y="190783"/>
                    <a:pt x="58374" y="187260"/>
                    <a:pt x="58374" y="164353"/>
                  </a:cubicBezTo>
                  <a:lnTo>
                    <a:pt x="58374" y="124192"/>
                  </a:lnTo>
                  <a:cubicBezTo>
                    <a:pt x="66462" y="124664"/>
                    <a:pt x="74574" y="124593"/>
                    <a:pt x="82651" y="123982"/>
                  </a:cubicBezTo>
                  <a:cubicBezTo>
                    <a:pt x="95000" y="133205"/>
                    <a:pt x="99635" y="137583"/>
                    <a:pt x="115425" y="153526"/>
                  </a:cubicBezTo>
                  <a:lnTo>
                    <a:pt x="132035" y="170276"/>
                  </a:lnTo>
                  <a:cubicBezTo>
                    <a:pt x="135804" y="174092"/>
                    <a:pt x="139058" y="177556"/>
                    <a:pt x="141926" y="180612"/>
                  </a:cubicBezTo>
                  <a:cubicBezTo>
                    <a:pt x="144525" y="183374"/>
                    <a:pt x="146784" y="185949"/>
                    <a:pt x="148797" y="188232"/>
                  </a:cubicBezTo>
                  <a:cubicBezTo>
                    <a:pt x="161087" y="202173"/>
                    <a:pt x="166706" y="208540"/>
                    <a:pt x="201798" y="208540"/>
                  </a:cubicBezTo>
                  <a:cubicBezTo>
                    <a:pt x="205310" y="208540"/>
                    <a:pt x="209044" y="208540"/>
                    <a:pt x="213281" y="208376"/>
                  </a:cubicBezTo>
                  <a:lnTo>
                    <a:pt x="216465" y="208306"/>
                  </a:lnTo>
                  <a:lnTo>
                    <a:pt x="216465" y="194201"/>
                  </a:lnTo>
                  <a:lnTo>
                    <a:pt x="213504" y="193932"/>
                  </a:lnTo>
                  <a:lnTo>
                    <a:pt x="213504" y="193932"/>
                  </a:lnTo>
                  <a:cubicBezTo>
                    <a:pt x="205228" y="193160"/>
                    <a:pt x="200253" y="187810"/>
                    <a:pt x="190316" y="177159"/>
                  </a:cubicBezTo>
                  <a:lnTo>
                    <a:pt x="171131" y="156967"/>
                  </a:lnTo>
                  <a:close/>
                  <a:moveTo>
                    <a:pt x="119031" y="62728"/>
                  </a:moveTo>
                  <a:cubicBezTo>
                    <a:pt x="119031" y="95210"/>
                    <a:pt x="104247" y="108554"/>
                    <a:pt x="65713" y="110041"/>
                  </a:cubicBezTo>
                  <a:cubicBezTo>
                    <a:pt x="64543" y="110041"/>
                    <a:pt x="61195" y="110041"/>
                    <a:pt x="58397" y="109725"/>
                  </a:cubicBezTo>
                  <a:lnTo>
                    <a:pt x="58397" y="15334"/>
                  </a:lnTo>
                  <a:cubicBezTo>
                    <a:pt x="62225" y="15182"/>
                    <a:pt x="68101" y="15182"/>
                    <a:pt x="71542" y="15182"/>
                  </a:cubicBezTo>
                  <a:cubicBezTo>
                    <a:pt x="103193" y="15170"/>
                    <a:pt x="119031" y="31159"/>
                    <a:pt x="119031" y="62728"/>
                  </a:cubicBezTo>
                  <a:close/>
                </a:path>
              </a:pathLst>
            </a:custGeom>
            <a:solidFill>
              <a:schemeClr val="bg1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15" name="Freihandform: Form 15">
              <a:extLst>
                <a:ext uri="{FF2B5EF4-FFF2-40B4-BE49-F238E27FC236}">
                  <a16:creationId xmlns:a16="http://schemas.microsoft.com/office/drawing/2014/main" id="{A6422AB0-9B3C-966C-7E77-095B8544BD67}"/>
                </a:ext>
              </a:extLst>
            </p:cNvPr>
            <p:cNvSpPr/>
            <p:nvPr/>
          </p:nvSpPr>
          <p:spPr>
            <a:xfrm>
              <a:off x="10830304" y="335724"/>
              <a:ext cx="207171" cy="202652"/>
            </a:xfrm>
            <a:custGeom>
              <a:avLst/>
              <a:gdLst>
                <a:gd name="connsiteX0" fmla="*/ 121430 w 207171"/>
                <a:gd name="connsiteY0" fmla="*/ 0 h 202652"/>
                <a:gd name="connsiteX1" fmla="*/ 90762 w 207171"/>
                <a:gd name="connsiteY1" fmla="*/ 0 h 202652"/>
                <a:gd name="connsiteX2" fmla="*/ 24979 w 207171"/>
                <a:gd name="connsiteY2" fmla="*/ 164529 h 202652"/>
                <a:gd name="connsiteX3" fmla="*/ 2610 w 207171"/>
                <a:gd name="connsiteY3" fmla="*/ 188431 h 202652"/>
                <a:gd name="connsiteX4" fmla="*/ 0 w 207171"/>
                <a:gd name="connsiteY4" fmla="*/ 188606 h 202652"/>
                <a:gd name="connsiteX5" fmla="*/ 0 w 207171"/>
                <a:gd name="connsiteY5" fmla="*/ 202652 h 202652"/>
                <a:gd name="connsiteX6" fmla="*/ 56735 w 207171"/>
                <a:gd name="connsiteY6" fmla="*/ 202652 h 202652"/>
                <a:gd name="connsiteX7" fmla="*/ 56735 w 207171"/>
                <a:gd name="connsiteY7" fmla="*/ 188712 h 202652"/>
                <a:gd name="connsiteX8" fmla="*/ 54184 w 207171"/>
                <a:gd name="connsiteY8" fmla="*/ 188489 h 202652"/>
                <a:gd name="connsiteX9" fmla="*/ 41530 w 207171"/>
                <a:gd name="connsiteY9" fmla="*/ 178879 h 202652"/>
                <a:gd name="connsiteX10" fmla="*/ 44562 w 207171"/>
                <a:gd name="connsiteY10" fmla="*/ 167478 h 202652"/>
                <a:gd name="connsiteX11" fmla="*/ 59779 w 207171"/>
                <a:gd name="connsiteY11" fmla="*/ 128196 h 202652"/>
                <a:gd name="connsiteX12" fmla="*/ 129706 w 207171"/>
                <a:gd name="connsiteY12" fmla="*/ 128196 h 202652"/>
                <a:gd name="connsiteX13" fmla="*/ 144923 w 207171"/>
                <a:gd name="connsiteY13" fmla="*/ 167385 h 202652"/>
                <a:gd name="connsiteX14" fmla="*/ 148844 w 207171"/>
                <a:gd name="connsiteY14" fmla="*/ 179734 h 202652"/>
                <a:gd name="connsiteX15" fmla="*/ 148937 w 207171"/>
                <a:gd name="connsiteY15" fmla="*/ 180202 h 202652"/>
                <a:gd name="connsiteX16" fmla="*/ 147896 w 207171"/>
                <a:gd name="connsiteY16" fmla="*/ 184802 h 202652"/>
                <a:gd name="connsiteX17" fmla="*/ 136577 w 207171"/>
                <a:gd name="connsiteY17" fmla="*/ 188243 h 202652"/>
                <a:gd name="connsiteX18" fmla="*/ 134002 w 207171"/>
                <a:gd name="connsiteY18" fmla="*/ 188442 h 202652"/>
                <a:gd name="connsiteX19" fmla="*/ 134002 w 207171"/>
                <a:gd name="connsiteY19" fmla="*/ 202606 h 202652"/>
                <a:gd name="connsiteX20" fmla="*/ 207171 w 207171"/>
                <a:gd name="connsiteY20" fmla="*/ 202606 h 202652"/>
                <a:gd name="connsiteX21" fmla="*/ 207171 w 207171"/>
                <a:gd name="connsiteY21" fmla="*/ 188700 h 202652"/>
                <a:gd name="connsiteX22" fmla="*/ 204502 w 207171"/>
                <a:gd name="connsiteY22" fmla="*/ 188559 h 202652"/>
                <a:gd name="connsiteX23" fmla="*/ 184603 w 207171"/>
                <a:gd name="connsiteY23" fmla="*/ 167759 h 202652"/>
                <a:gd name="connsiteX24" fmla="*/ 121641 w 207171"/>
                <a:gd name="connsiteY24" fmla="*/ 107161 h 202652"/>
                <a:gd name="connsiteX25" fmla="*/ 67797 w 207171"/>
                <a:gd name="connsiteY25" fmla="*/ 107161 h 202652"/>
                <a:gd name="connsiteX26" fmla="*/ 95140 w 207171"/>
                <a:gd name="connsiteY26" fmla="*/ 37012 h 2026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207171" h="202652">
                  <a:moveTo>
                    <a:pt x="121430" y="0"/>
                  </a:moveTo>
                  <a:lnTo>
                    <a:pt x="90762" y="0"/>
                  </a:lnTo>
                  <a:lnTo>
                    <a:pt x="24979" y="164529"/>
                  </a:lnTo>
                  <a:cubicBezTo>
                    <a:pt x="17172" y="183994"/>
                    <a:pt x="15755" y="187506"/>
                    <a:pt x="2610" y="188431"/>
                  </a:cubicBezTo>
                  <a:lnTo>
                    <a:pt x="0" y="188606"/>
                  </a:lnTo>
                  <a:lnTo>
                    <a:pt x="0" y="202652"/>
                  </a:lnTo>
                  <a:lnTo>
                    <a:pt x="56735" y="202652"/>
                  </a:lnTo>
                  <a:lnTo>
                    <a:pt x="56735" y="188712"/>
                  </a:lnTo>
                  <a:lnTo>
                    <a:pt x="54184" y="188489"/>
                  </a:lnTo>
                  <a:cubicBezTo>
                    <a:pt x="43649" y="187319"/>
                    <a:pt x="41202" y="183315"/>
                    <a:pt x="41530" y="178879"/>
                  </a:cubicBezTo>
                  <a:cubicBezTo>
                    <a:pt x="41741" y="176105"/>
                    <a:pt x="42572" y="172839"/>
                    <a:pt x="44562" y="167478"/>
                  </a:cubicBezTo>
                  <a:lnTo>
                    <a:pt x="59779" y="128196"/>
                  </a:lnTo>
                  <a:lnTo>
                    <a:pt x="129706" y="128196"/>
                  </a:lnTo>
                  <a:lnTo>
                    <a:pt x="144923" y="167385"/>
                  </a:lnTo>
                  <a:cubicBezTo>
                    <a:pt x="147369" y="174326"/>
                    <a:pt x="147907" y="175672"/>
                    <a:pt x="148844" y="179734"/>
                  </a:cubicBezTo>
                  <a:lnTo>
                    <a:pt x="148937" y="180202"/>
                  </a:lnTo>
                  <a:cubicBezTo>
                    <a:pt x="149324" y="181814"/>
                    <a:pt x="148939" y="183513"/>
                    <a:pt x="147896" y="184802"/>
                  </a:cubicBezTo>
                  <a:cubicBezTo>
                    <a:pt x="146421" y="186651"/>
                    <a:pt x="142780" y="187763"/>
                    <a:pt x="136577" y="188243"/>
                  </a:cubicBezTo>
                  <a:lnTo>
                    <a:pt x="134002" y="188442"/>
                  </a:lnTo>
                  <a:lnTo>
                    <a:pt x="134002" y="202606"/>
                  </a:lnTo>
                  <a:lnTo>
                    <a:pt x="207171" y="202606"/>
                  </a:lnTo>
                  <a:lnTo>
                    <a:pt x="207171" y="188700"/>
                  </a:lnTo>
                  <a:lnTo>
                    <a:pt x="204502" y="188559"/>
                  </a:lnTo>
                  <a:cubicBezTo>
                    <a:pt x="191989" y="187986"/>
                    <a:pt x="190854" y="184896"/>
                    <a:pt x="184603" y="167759"/>
                  </a:cubicBezTo>
                  <a:close/>
                  <a:moveTo>
                    <a:pt x="121641" y="107161"/>
                  </a:moveTo>
                  <a:lnTo>
                    <a:pt x="67797" y="107161"/>
                  </a:lnTo>
                  <a:lnTo>
                    <a:pt x="95140" y="37012"/>
                  </a:lnTo>
                  <a:close/>
                </a:path>
              </a:pathLst>
            </a:custGeom>
            <a:solidFill>
              <a:schemeClr val="bg1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16" name="Freihandform: Form 16">
              <a:extLst>
                <a:ext uri="{FF2B5EF4-FFF2-40B4-BE49-F238E27FC236}">
                  <a16:creationId xmlns:a16="http://schemas.microsoft.com/office/drawing/2014/main" id="{64A0366F-3A3C-63BA-ABD1-240747DECFF9}"/>
                </a:ext>
              </a:extLst>
            </p:cNvPr>
            <p:cNvSpPr/>
            <p:nvPr/>
          </p:nvSpPr>
          <p:spPr>
            <a:xfrm>
              <a:off x="11256925" y="330434"/>
              <a:ext cx="218794" cy="212964"/>
            </a:xfrm>
            <a:custGeom>
              <a:avLst/>
              <a:gdLst>
                <a:gd name="connsiteX0" fmla="*/ 109397 w 218794"/>
                <a:gd name="connsiteY0" fmla="*/ 0 h 212964"/>
                <a:gd name="connsiteX1" fmla="*/ 0 w 218794"/>
                <a:gd name="connsiteY1" fmla="*/ 111878 h 212964"/>
                <a:gd name="connsiteX2" fmla="*/ 108227 w 218794"/>
                <a:gd name="connsiteY2" fmla="*/ 212965 h 212964"/>
                <a:gd name="connsiteX3" fmla="*/ 218794 w 218794"/>
                <a:gd name="connsiteY3" fmla="*/ 102994 h 212964"/>
                <a:gd name="connsiteX4" fmla="*/ 109397 w 218794"/>
                <a:gd name="connsiteY4" fmla="*/ 0 h 212964"/>
                <a:gd name="connsiteX5" fmla="*/ 177861 w 218794"/>
                <a:gd name="connsiteY5" fmla="*/ 110919 h 212964"/>
                <a:gd name="connsiteX6" fmla="*/ 112897 w 218794"/>
                <a:gd name="connsiteY6" fmla="*/ 197210 h 212964"/>
                <a:gd name="connsiteX7" fmla="*/ 40945 w 218794"/>
                <a:gd name="connsiteY7" fmla="*/ 103310 h 212964"/>
                <a:gd name="connsiteX8" fmla="*/ 107056 w 218794"/>
                <a:gd name="connsiteY8" fmla="*/ 15744 h 212964"/>
                <a:gd name="connsiteX9" fmla="*/ 177861 w 218794"/>
                <a:gd name="connsiteY9" fmla="*/ 110919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18794" h="212964">
                  <a:moveTo>
                    <a:pt x="109397" y="0"/>
                  </a:moveTo>
                  <a:cubicBezTo>
                    <a:pt x="45966" y="0"/>
                    <a:pt x="0" y="47043"/>
                    <a:pt x="0" y="111878"/>
                  </a:cubicBezTo>
                  <a:cubicBezTo>
                    <a:pt x="0" y="170405"/>
                    <a:pt x="45522" y="212965"/>
                    <a:pt x="108227" y="212965"/>
                  </a:cubicBezTo>
                  <a:cubicBezTo>
                    <a:pt x="171259" y="212965"/>
                    <a:pt x="218794" y="165687"/>
                    <a:pt x="218794" y="102994"/>
                  </a:cubicBezTo>
                  <a:cubicBezTo>
                    <a:pt x="218794" y="42349"/>
                    <a:pt x="173811" y="0"/>
                    <a:pt x="109397" y="0"/>
                  </a:cubicBezTo>
                  <a:close/>
                  <a:moveTo>
                    <a:pt x="177861" y="110919"/>
                  </a:moveTo>
                  <a:cubicBezTo>
                    <a:pt x="177861" y="162539"/>
                    <a:pt x="151758" y="197210"/>
                    <a:pt x="112897" y="197210"/>
                  </a:cubicBezTo>
                  <a:cubicBezTo>
                    <a:pt x="77138" y="197210"/>
                    <a:pt x="40945" y="164950"/>
                    <a:pt x="40945" y="103310"/>
                  </a:cubicBezTo>
                  <a:cubicBezTo>
                    <a:pt x="40945" y="49302"/>
                    <a:pt x="66275" y="15744"/>
                    <a:pt x="107056" y="15744"/>
                  </a:cubicBezTo>
                  <a:cubicBezTo>
                    <a:pt x="148738" y="15744"/>
                    <a:pt x="177861" y="54886"/>
                    <a:pt x="177861" y="110919"/>
                  </a:cubicBezTo>
                  <a:close/>
                </a:path>
              </a:pathLst>
            </a:custGeom>
            <a:solidFill>
              <a:schemeClr val="bg1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17" name="Freihandform: Form 18">
              <a:extLst>
                <a:ext uri="{FF2B5EF4-FFF2-40B4-BE49-F238E27FC236}">
                  <a16:creationId xmlns:a16="http://schemas.microsoft.com/office/drawing/2014/main" id="{6B09D3AD-C4A6-B81D-EDE1-78E15D6D62D9}"/>
                </a:ext>
              </a:extLst>
            </p:cNvPr>
            <p:cNvSpPr/>
            <p:nvPr/>
          </p:nvSpPr>
          <p:spPr>
            <a:xfrm>
              <a:off x="11045727" y="330434"/>
              <a:ext cx="196811" cy="212964"/>
            </a:xfrm>
            <a:custGeom>
              <a:avLst/>
              <a:gdLst>
                <a:gd name="connsiteX0" fmla="*/ 196812 w 196811"/>
                <a:gd name="connsiteY0" fmla="*/ 165348 h 212964"/>
                <a:gd name="connsiteX1" fmla="*/ 180635 w 196811"/>
                <a:gd name="connsiteY1" fmla="*/ 165547 h 212964"/>
                <a:gd name="connsiteX2" fmla="*/ 179828 w 196811"/>
                <a:gd name="connsiteY2" fmla="*/ 166659 h 212964"/>
                <a:gd name="connsiteX3" fmla="*/ 118960 w 196811"/>
                <a:gd name="connsiteY3" fmla="*/ 195922 h 212964"/>
                <a:gd name="connsiteX4" fmla="*/ 70255 w 196811"/>
                <a:gd name="connsiteY4" fmla="*/ 176585 h 212964"/>
                <a:gd name="connsiteX5" fmla="*/ 41729 w 196811"/>
                <a:gd name="connsiteY5" fmla="*/ 102023 h 212964"/>
                <a:gd name="connsiteX6" fmla="*/ 113623 w 196811"/>
                <a:gd name="connsiteY6" fmla="*/ 15720 h 212964"/>
                <a:gd name="connsiteX7" fmla="*/ 179359 w 196811"/>
                <a:gd name="connsiteY7" fmla="*/ 50391 h 212964"/>
                <a:gd name="connsiteX8" fmla="*/ 180155 w 196811"/>
                <a:gd name="connsiteY8" fmla="*/ 51959 h 212964"/>
                <a:gd name="connsiteX9" fmla="*/ 193558 w 196811"/>
                <a:gd name="connsiteY9" fmla="*/ 51749 h 212964"/>
                <a:gd name="connsiteX10" fmla="*/ 192259 w 196811"/>
                <a:gd name="connsiteY10" fmla="*/ 9142 h 212964"/>
                <a:gd name="connsiteX11" fmla="*/ 181267 w 196811"/>
                <a:gd name="connsiteY11" fmla="*/ 9142 h 212964"/>
                <a:gd name="connsiteX12" fmla="*/ 180694 w 196811"/>
                <a:gd name="connsiteY12" fmla="*/ 9528 h 212964"/>
                <a:gd name="connsiteX13" fmla="*/ 176515 w 196811"/>
                <a:gd name="connsiteY13" fmla="*/ 10453 h 212964"/>
                <a:gd name="connsiteX14" fmla="*/ 163768 w 196811"/>
                <a:gd name="connsiteY14" fmla="*/ 7761 h 212964"/>
                <a:gd name="connsiteX15" fmla="*/ 112441 w 196811"/>
                <a:gd name="connsiteY15" fmla="*/ 0 h 212964"/>
                <a:gd name="connsiteX16" fmla="*/ 0 w 196811"/>
                <a:gd name="connsiteY16" fmla="*/ 110275 h 212964"/>
                <a:gd name="connsiteX17" fmla="*/ 110029 w 196811"/>
                <a:gd name="connsiteY17" fmla="*/ 212965 h 212964"/>
                <a:gd name="connsiteX18" fmla="*/ 149382 w 196811"/>
                <a:gd name="connsiteY18" fmla="*/ 208411 h 212964"/>
                <a:gd name="connsiteX19" fmla="*/ 169808 w 196811"/>
                <a:gd name="connsiteY19" fmla="*/ 205661 h 212964"/>
                <a:gd name="connsiteX20" fmla="*/ 172804 w 196811"/>
                <a:gd name="connsiteY20" fmla="*/ 205567 h 212964"/>
                <a:gd name="connsiteX21" fmla="*/ 179406 w 196811"/>
                <a:gd name="connsiteY21" fmla="*/ 205719 h 212964"/>
                <a:gd name="connsiteX22" fmla="*/ 182414 w 196811"/>
                <a:gd name="connsiteY22" fmla="*/ 206012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96811" h="212964">
                  <a:moveTo>
                    <a:pt x="196812" y="165348"/>
                  </a:moveTo>
                  <a:lnTo>
                    <a:pt x="180635" y="165547"/>
                  </a:lnTo>
                  <a:lnTo>
                    <a:pt x="179828" y="166659"/>
                  </a:lnTo>
                  <a:cubicBezTo>
                    <a:pt x="163440" y="186839"/>
                    <a:pt x="146315" y="195044"/>
                    <a:pt x="118960" y="195922"/>
                  </a:cubicBezTo>
                  <a:cubicBezTo>
                    <a:pt x="100712" y="196577"/>
                    <a:pt x="83927" y="189824"/>
                    <a:pt x="70255" y="176585"/>
                  </a:cubicBezTo>
                  <a:cubicBezTo>
                    <a:pt x="52123" y="159027"/>
                    <a:pt x="41729" y="131859"/>
                    <a:pt x="41729" y="102023"/>
                  </a:cubicBezTo>
                  <a:cubicBezTo>
                    <a:pt x="41729" y="50403"/>
                    <a:pt x="70618" y="15720"/>
                    <a:pt x="113623" y="15720"/>
                  </a:cubicBezTo>
                  <a:cubicBezTo>
                    <a:pt x="143799" y="15720"/>
                    <a:pt x="168989" y="28994"/>
                    <a:pt x="179359" y="50391"/>
                  </a:cubicBezTo>
                  <a:lnTo>
                    <a:pt x="180155" y="51959"/>
                  </a:lnTo>
                  <a:lnTo>
                    <a:pt x="193558" y="51749"/>
                  </a:lnTo>
                  <a:lnTo>
                    <a:pt x="192259" y="9142"/>
                  </a:lnTo>
                  <a:lnTo>
                    <a:pt x="181267" y="9142"/>
                  </a:lnTo>
                  <a:lnTo>
                    <a:pt x="180694" y="9528"/>
                  </a:lnTo>
                  <a:cubicBezTo>
                    <a:pt x="179431" y="10264"/>
                    <a:pt x="177970" y="10587"/>
                    <a:pt x="176515" y="10453"/>
                  </a:cubicBezTo>
                  <a:cubicBezTo>
                    <a:pt x="173928" y="10359"/>
                    <a:pt x="169492" y="9282"/>
                    <a:pt x="163768" y="7761"/>
                  </a:cubicBezTo>
                  <a:cubicBezTo>
                    <a:pt x="152039" y="4682"/>
                    <a:pt x="134259" y="0"/>
                    <a:pt x="112441" y="0"/>
                  </a:cubicBezTo>
                  <a:cubicBezTo>
                    <a:pt x="34765" y="0"/>
                    <a:pt x="0" y="55377"/>
                    <a:pt x="0" y="110275"/>
                  </a:cubicBezTo>
                  <a:cubicBezTo>
                    <a:pt x="0" y="172652"/>
                    <a:pt x="43192" y="212965"/>
                    <a:pt x="110029" y="212965"/>
                  </a:cubicBezTo>
                  <a:cubicBezTo>
                    <a:pt x="124965" y="212965"/>
                    <a:pt x="138461" y="210448"/>
                    <a:pt x="149382" y="208411"/>
                  </a:cubicBezTo>
                  <a:cubicBezTo>
                    <a:pt x="156745" y="207030"/>
                    <a:pt x="163838" y="205789"/>
                    <a:pt x="169808" y="205661"/>
                  </a:cubicBezTo>
                  <a:cubicBezTo>
                    <a:pt x="171119" y="205661"/>
                    <a:pt x="172032" y="205661"/>
                    <a:pt x="172804" y="205567"/>
                  </a:cubicBezTo>
                  <a:cubicBezTo>
                    <a:pt x="175006" y="205507"/>
                    <a:pt x="177209" y="205558"/>
                    <a:pt x="179406" y="205719"/>
                  </a:cubicBezTo>
                  <a:lnTo>
                    <a:pt x="182414" y="206012"/>
                  </a:lnTo>
                  <a:close/>
                </a:path>
              </a:pathLst>
            </a:custGeom>
            <a:solidFill>
              <a:schemeClr val="bg1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118306646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F03889B5-5769-4D31-B1F9-4724D3A628C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F03889B5-5769-4D31-B1F9-4724D3A628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>
            <a:extLst>
              <a:ext uri="{FF2B5EF4-FFF2-40B4-BE49-F238E27FC236}">
                <a16:creationId xmlns:a16="http://schemas.microsoft.com/office/drawing/2014/main" id="{7E9E9310-804D-43C9-A137-B7D9C63A9A10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rtl="0"/>
            <a:endParaRPr lang="en-GB" sz="3600" b="1" i="0" baseline="0">
              <a:latin typeface="Arial" panose="020B0604020202020204" pitchFamily="34" charset="0"/>
              <a:ea typeface="Malgun Gothic Semilight" panose="020B0502040204020203" pitchFamily="34" charset="-128"/>
              <a:cs typeface="Malgun Gothic Semilight" panose="020B0502040204020203" pitchFamily="34" charset="-128"/>
              <a:sym typeface="Arial" panose="020B0604020202020204" pitchFamily="34" charset="0"/>
            </a:endParaRPr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0E741EA5-5CD3-4B6D-A654-564CC372A38B}"/>
              </a:ext>
            </a:extLst>
          </p:cNvPr>
          <p:cNvSpPr/>
          <p:nvPr/>
        </p:nvSpPr>
        <p:spPr>
          <a:xfrm>
            <a:off x="479425" y="3726357"/>
            <a:ext cx="684000" cy="36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GB"/>
          </a:p>
        </p:txBody>
      </p:sp>
      <p:sp>
        <p:nvSpPr>
          <p:cNvPr id="10" name="Titel 1">
            <a:extLst>
              <a:ext uri="{FF2B5EF4-FFF2-40B4-BE49-F238E27FC236}">
                <a16:creationId xmlns:a16="http://schemas.microsoft.com/office/drawing/2014/main" id="{24766ED2-A7F5-411A-B424-BD22AAB729CD}"/>
              </a:ext>
            </a:extLst>
          </p:cNvPr>
          <p:cNvSpPr txBox="1">
            <a:spLocks/>
          </p:cNvSpPr>
          <p:nvPr/>
        </p:nvSpPr>
        <p:spPr>
          <a:xfrm>
            <a:off x="479425" y="3120518"/>
            <a:ext cx="9180513" cy="498598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1" kern="1200" cap="all" baseline="0">
                <a:solidFill>
                  <a:schemeClr val="tx1"/>
                </a:solidFill>
                <a:latin typeface="+mn-lt"/>
                <a:ea typeface="Malgun Gothic Semilight" panose="020B0502040204020203" pitchFamily="34" charset="-128"/>
                <a:cs typeface="Malgun Gothic Semilight" panose="020B0502040204020203" pitchFamily="34" charset="-128"/>
              </a:defRPr>
            </a:lvl1pPr>
          </a:lstStyle>
          <a:p>
            <a:pPr rtl="0"/>
            <a:r>
              <a:rPr lang="en-GB"/>
              <a:t>kontakt</a:t>
            </a:r>
          </a:p>
        </p:txBody>
      </p:sp>
      <p:sp>
        <p:nvSpPr>
          <p:cNvPr id="12" name="Titel 1">
            <a:extLst>
              <a:ext uri="{FF2B5EF4-FFF2-40B4-BE49-F238E27FC236}">
                <a16:creationId xmlns:a16="http://schemas.microsoft.com/office/drawing/2014/main" id="{C1DDDB79-180F-4FD5-A2D7-8F5E9B5E6C0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79425" y="4280883"/>
            <a:ext cx="2937920" cy="332399"/>
          </a:xfrm>
        </p:spPr>
        <p:txBody>
          <a:bodyPr vert="horz" wrap="none" lIns="0" tIns="0" rIns="0" bIns="0" anchor="b" anchorCtr="0">
            <a:spAutoFit/>
          </a:bodyPr>
          <a:lstStyle>
            <a:lvl1pPr algn="l" rtl="0">
              <a:defRPr sz="2400" b="1" cap="none" baseline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GB"/>
              <a:t>Vorname Nachname</a:t>
            </a:r>
          </a:p>
        </p:txBody>
      </p:sp>
      <p:sp>
        <p:nvSpPr>
          <p:cNvPr id="13" name="Textplatzhalter 15">
            <a:extLst>
              <a:ext uri="{FF2B5EF4-FFF2-40B4-BE49-F238E27FC236}">
                <a16:creationId xmlns:a16="http://schemas.microsoft.com/office/drawing/2014/main" id="{9094F639-8501-4BBB-BEDA-A0D90CAFB74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79425" y="5053920"/>
            <a:ext cx="2777748" cy="430887"/>
          </a:xfrm>
          <a:prstGeom prst="rect">
            <a:avLst/>
          </a:prstGeom>
        </p:spPr>
        <p:txBody>
          <a:bodyPr wrap="none" lIns="0" tIns="0" rIns="0" bIns="0" anchor="t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 sz="1400" b="0" cap="none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/>
              <a:t>T +49 XXXX XXX XX XX</a:t>
            </a:r>
            <a:br>
              <a:rPr lang="en-GB"/>
            </a:br>
            <a:r>
              <a:rPr lang="en-GB"/>
              <a:t>vorname.nachname@senacor.com</a:t>
            </a:r>
          </a:p>
        </p:txBody>
      </p:sp>
      <p:sp>
        <p:nvSpPr>
          <p:cNvPr id="15" name="Textplatzhalter 15">
            <a:extLst>
              <a:ext uri="{FF2B5EF4-FFF2-40B4-BE49-F238E27FC236}">
                <a16:creationId xmlns:a16="http://schemas.microsoft.com/office/drawing/2014/main" id="{6AF72ADE-F411-4A86-8646-208BC9AF299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4645127"/>
            <a:ext cx="637995" cy="215444"/>
          </a:xfrm>
          <a:prstGeom prst="rect">
            <a:avLst/>
          </a:prstGeom>
        </p:spPr>
        <p:txBody>
          <a:bodyPr wrap="none" lIns="0" tIns="0" rIns="0" bIns="0" anchor="t" anchorCtr="0">
            <a:sp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de-DE" sz="1400" b="0" kern="1200" cap="none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GB"/>
              <a:t>Position</a:t>
            </a:r>
          </a:p>
        </p:txBody>
      </p:sp>
      <p:sp>
        <p:nvSpPr>
          <p:cNvPr id="18" name="Textfeld 48">
            <a:extLst>
              <a:ext uri="{FF2B5EF4-FFF2-40B4-BE49-F238E27FC236}">
                <a16:creationId xmlns:a16="http://schemas.microsoft.com/office/drawing/2014/main" id="{44D5D767-BC17-4768-9511-7DF1AFA69E76}"/>
              </a:ext>
            </a:extLst>
          </p:cNvPr>
          <p:cNvSpPr txBox="1"/>
          <p:nvPr/>
        </p:nvSpPr>
        <p:spPr>
          <a:xfrm>
            <a:off x="479425" y="5902697"/>
            <a:ext cx="1443793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indent="0" algn="l" rtl="0">
              <a:buFont typeface="Wingdings" panose="05000000000000000000" pitchFamily="2" charset="2"/>
              <a:buNone/>
            </a:pPr>
            <a:r>
              <a:rPr lang="en-GB" sz="1400">
                <a:solidFill>
                  <a:schemeClr val="tx1"/>
                </a:solidFill>
              </a:rPr>
              <a:t>www.senacor.com</a:t>
            </a:r>
          </a:p>
        </p:txBody>
      </p:sp>
      <p:sp>
        <p:nvSpPr>
          <p:cNvPr id="21" name="Textplatzhalter 15">
            <a:extLst>
              <a:ext uri="{FF2B5EF4-FFF2-40B4-BE49-F238E27FC236}">
                <a16:creationId xmlns:a16="http://schemas.microsoft.com/office/drawing/2014/main" id="{7751DF04-5E01-4487-8574-D3F95100678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973539" y="4645127"/>
            <a:ext cx="637995" cy="215444"/>
          </a:xfrm>
          <a:prstGeom prst="rect">
            <a:avLst/>
          </a:prstGeom>
        </p:spPr>
        <p:txBody>
          <a:bodyPr wrap="none" lIns="0" tIns="0" rIns="0" bIns="0" anchor="t" anchorCtr="0">
            <a:sp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de-DE" sz="1400" b="0" kern="1200" cap="none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GB"/>
              <a:t>Position</a:t>
            </a:r>
          </a:p>
        </p:txBody>
      </p:sp>
      <p:sp>
        <p:nvSpPr>
          <p:cNvPr id="26" name="Text Placeholder 25">
            <a:extLst>
              <a:ext uri="{FF2B5EF4-FFF2-40B4-BE49-F238E27FC236}">
                <a16:creationId xmlns:a16="http://schemas.microsoft.com/office/drawing/2014/main" id="{C766E230-C429-40D7-88CD-C08E08109EE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973539" y="4280883"/>
            <a:ext cx="2937920" cy="332399"/>
          </a:xfrm>
        </p:spPr>
        <p:txBody>
          <a:bodyPr wrap="none" anchor="b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lang="de-DE" sz="2400" b="1" kern="1200" cap="none" baseline="0" dirty="0">
                <a:solidFill>
                  <a:schemeClr val="tx1"/>
                </a:solidFill>
                <a:latin typeface="+mn-lt"/>
                <a:ea typeface="Malgun Gothic Semilight" panose="020B0502040204020203" pitchFamily="34" charset="-128"/>
                <a:cs typeface="Malgun Gothic Semilight" panose="020B0502040204020203" pitchFamily="34" charset="-128"/>
              </a:defRPr>
            </a:lvl1pPr>
          </a:lstStyle>
          <a:p>
            <a:pPr lvl="0"/>
            <a:r>
              <a:rPr lang="en-GB"/>
              <a:t>Vorname Nachname</a:t>
            </a:r>
          </a:p>
        </p:txBody>
      </p:sp>
      <p:sp>
        <p:nvSpPr>
          <p:cNvPr id="27" name="Textplatzhalter 15">
            <a:extLst>
              <a:ext uri="{FF2B5EF4-FFF2-40B4-BE49-F238E27FC236}">
                <a16:creationId xmlns:a16="http://schemas.microsoft.com/office/drawing/2014/main" id="{884337E5-B406-432D-99C1-EED0D43CBC54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973539" y="5053920"/>
            <a:ext cx="2777748" cy="430887"/>
          </a:xfrm>
          <a:prstGeom prst="rect">
            <a:avLst/>
          </a:prstGeom>
        </p:spPr>
        <p:txBody>
          <a:bodyPr wrap="none" lIns="0" tIns="0" rIns="0" bIns="0" anchor="t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 sz="1400" b="0" cap="none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/>
              <a:t>T +49 XXXX XXX XX XX</a:t>
            </a:r>
            <a:br>
              <a:rPr lang="en-GB"/>
            </a:br>
            <a:r>
              <a:rPr lang="en-GB"/>
              <a:t>vorname.nachname@senacor.com</a:t>
            </a:r>
          </a:p>
        </p:txBody>
      </p:sp>
      <p:grpSp>
        <p:nvGrpSpPr>
          <p:cNvPr id="2" name="Grafik 24">
            <a:extLst>
              <a:ext uri="{FF2B5EF4-FFF2-40B4-BE49-F238E27FC236}">
                <a16:creationId xmlns:a16="http://schemas.microsoft.com/office/drawing/2014/main" id="{F9DBE55D-20E2-46D2-82B7-BD007C0044E4}"/>
              </a:ext>
            </a:extLst>
          </p:cNvPr>
          <p:cNvGrpSpPr/>
          <p:nvPr/>
        </p:nvGrpSpPr>
        <p:grpSpPr>
          <a:xfrm>
            <a:off x="9320362" y="330434"/>
            <a:ext cx="2392460" cy="345976"/>
            <a:chOff x="9320362" y="330434"/>
            <a:chExt cx="2392460" cy="345976"/>
          </a:xfrm>
          <a:solidFill>
            <a:srgbClr val="000000"/>
          </a:solidFill>
        </p:grpSpPr>
        <p:sp>
          <p:nvSpPr>
            <p:cNvPr id="3" name="Freihandform: Form 2">
              <a:extLst>
                <a:ext uri="{FF2B5EF4-FFF2-40B4-BE49-F238E27FC236}">
                  <a16:creationId xmlns:a16="http://schemas.microsoft.com/office/drawing/2014/main" id="{E3314D65-ED26-4F96-97E8-A526C2644736}"/>
                </a:ext>
              </a:extLst>
            </p:cNvPr>
            <p:cNvSpPr/>
            <p:nvPr/>
          </p:nvSpPr>
          <p:spPr>
            <a:xfrm>
              <a:off x="9908583" y="339029"/>
              <a:ext cx="347574" cy="332589"/>
            </a:xfrm>
            <a:custGeom>
              <a:avLst/>
              <a:gdLst>
                <a:gd name="connsiteX0" fmla="*/ 260728 w 347574"/>
                <a:gd name="connsiteY0" fmla="*/ 23028 h 332589"/>
                <a:gd name="connsiteX1" fmla="*/ 265026 w 347574"/>
                <a:gd name="connsiteY1" fmla="*/ 23276 h 332589"/>
                <a:gd name="connsiteX2" fmla="*/ 287313 w 347574"/>
                <a:gd name="connsiteY2" fmla="*/ 58588 h 332589"/>
                <a:gd name="connsiteX3" fmla="*/ 287313 w 347574"/>
                <a:gd name="connsiteY3" fmla="*/ 235095 h 332589"/>
                <a:gd name="connsiteX4" fmla="*/ 80267 w 347574"/>
                <a:gd name="connsiteY4" fmla="*/ 0 h 332589"/>
                <a:gd name="connsiteX5" fmla="*/ 7854 w 347574"/>
                <a:gd name="connsiteY5" fmla="*/ 0 h 332589"/>
                <a:gd name="connsiteX6" fmla="*/ 7854 w 347574"/>
                <a:gd name="connsiteY6" fmla="*/ 22572 h 332589"/>
                <a:gd name="connsiteX7" fmla="*/ 11847 w 347574"/>
                <a:gd name="connsiteY7" fmla="*/ 22971 h 332589"/>
                <a:gd name="connsiteX8" fmla="*/ 27174 w 347574"/>
                <a:gd name="connsiteY8" fmla="*/ 34381 h 332589"/>
                <a:gd name="connsiteX9" fmla="*/ 27174 w 347574"/>
                <a:gd name="connsiteY9" fmla="*/ 267764 h 332589"/>
                <a:gd name="connsiteX10" fmla="*/ 4355 w 347574"/>
                <a:gd name="connsiteY10" fmla="*/ 306024 h 332589"/>
                <a:gd name="connsiteX11" fmla="*/ 0 w 347574"/>
                <a:gd name="connsiteY11" fmla="*/ 306253 h 332589"/>
                <a:gd name="connsiteX12" fmla="*/ 0 w 347574"/>
                <a:gd name="connsiteY12" fmla="*/ 329072 h 332589"/>
                <a:gd name="connsiteX13" fmla="*/ 88577 w 347574"/>
                <a:gd name="connsiteY13" fmla="*/ 329072 h 332589"/>
                <a:gd name="connsiteX14" fmla="*/ 88577 w 347574"/>
                <a:gd name="connsiteY14" fmla="*/ 306500 h 332589"/>
                <a:gd name="connsiteX15" fmla="*/ 84374 w 347574"/>
                <a:gd name="connsiteY15" fmla="*/ 306176 h 332589"/>
                <a:gd name="connsiteX16" fmla="*/ 62677 w 347574"/>
                <a:gd name="connsiteY16" fmla="*/ 263923 h 332589"/>
                <a:gd name="connsiteX17" fmla="*/ 62677 w 347574"/>
                <a:gd name="connsiteY17" fmla="*/ 74809 h 332589"/>
                <a:gd name="connsiteX18" fmla="*/ 288967 w 347574"/>
                <a:gd name="connsiteY18" fmla="*/ 331049 h 332589"/>
                <a:gd name="connsiteX19" fmla="*/ 290336 w 347574"/>
                <a:gd name="connsiteY19" fmla="*/ 332590 h 332589"/>
                <a:gd name="connsiteX20" fmla="*/ 322816 w 347574"/>
                <a:gd name="connsiteY20" fmla="*/ 332590 h 332589"/>
                <a:gd name="connsiteX21" fmla="*/ 322816 w 347574"/>
                <a:gd name="connsiteY21" fmla="*/ 63799 h 332589"/>
                <a:gd name="connsiteX22" fmla="*/ 343391 w 347574"/>
                <a:gd name="connsiteY22" fmla="*/ 23428 h 332589"/>
                <a:gd name="connsiteX23" fmla="*/ 347574 w 347574"/>
                <a:gd name="connsiteY23" fmla="*/ 23066 h 332589"/>
                <a:gd name="connsiteX24" fmla="*/ 347574 w 347574"/>
                <a:gd name="connsiteY24" fmla="*/ 0 h 332589"/>
                <a:gd name="connsiteX25" fmla="*/ 260728 w 347574"/>
                <a:gd name="connsiteY25" fmla="*/ 0 h 3325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347574" h="332589">
                  <a:moveTo>
                    <a:pt x="260728" y="23028"/>
                  </a:moveTo>
                  <a:lnTo>
                    <a:pt x="265026" y="23276"/>
                  </a:lnTo>
                  <a:cubicBezTo>
                    <a:pt x="287351" y="24550"/>
                    <a:pt x="287351" y="29094"/>
                    <a:pt x="287313" y="58588"/>
                  </a:cubicBezTo>
                  <a:lnTo>
                    <a:pt x="287313" y="235095"/>
                  </a:lnTo>
                  <a:lnTo>
                    <a:pt x="80267" y="0"/>
                  </a:lnTo>
                  <a:lnTo>
                    <a:pt x="7854" y="0"/>
                  </a:lnTo>
                  <a:lnTo>
                    <a:pt x="7854" y="22572"/>
                  </a:lnTo>
                  <a:lnTo>
                    <a:pt x="11847" y="22971"/>
                  </a:lnTo>
                  <a:cubicBezTo>
                    <a:pt x="23808" y="23789"/>
                    <a:pt x="26946" y="27782"/>
                    <a:pt x="27174" y="34381"/>
                  </a:cubicBezTo>
                  <a:lnTo>
                    <a:pt x="27174" y="267764"/>
                  </a:lnTo>
                  <a:cubicBezTo>
                    <a:pt x="27174" y="297106"/>
                    <a:pt x="27174" y="304978"/>
                    <a:pt x="4355" y="306024"/>
                  </a:cubicBezTo>
                  <a:lnTo>
                    <a:pt x="0" y="306253"/>
                  </a:lnTo>
                  <a:lnTo>
                    <a:pt x="0" y="329072"/>
                  </a:lnTo>
                  <a:lnTo>
                    <a:pt x="88577" y="329072"/>
                  </a:lnTo>
                  <a:lnTo>
                    <a:pt x="88577" y="306500"/>
                  </a:lnTo>
                  <a:lnTo>
                    <a:pt x="84374" y="306176"/>
                  </a:lnTo>
                  <a:cubicBezTo>
                    <a:pt x="62639" y="304484"/>
                    <a:pt x="62658" y="295908"/>
                    <a:pt x="62677" y="263923"/>
                  </a:cubicBezTo>
                  <a:lnTo>
                    <a:pt x="62677" y="74809"/>
                  </a:lnTo>
                  <a:lnTo>
                    <a:pt x="288967" y="331049"/>
                  </a:lnTo>
                  <a:lnTo>
                    <a:pt x="290336" y="332590"/>
                  </a:lnTo>
                  <a:lnTo>
                    <a:pt x="322816" y="332590"/>
                  </a:lnTo>
                  <a:lnTo>
                    <a:pt x="322816" y="63799"/>
                  </a:lnTo>
                  <a:cubicBezTo>
                    <a:pt x="322816" y="30996"/>
                    <a:pt x="324584" y="25215"/>
                    <a:pt x="343391" y="23428"/>
                  </a:cubicBezTo>
                  <a:lnTo>
                    <a:pt x="347574" y="23066"/>
                  </a:lnTo>
                  <a:lnTo>
                    <a:pt x="347574" y="0"/>
                  </a:lnTo>
                  <a:lnTo>
                    <a:pt x="260728" y="0"/>
                  </a:lnTo>
                  <a:close/>
                </a:path>
              </a:pathLst>
            </a:custGeom>
            <a:solidFill>
              <a:srgbClr val="000000"/>
            </a:solidFill>
            <a:ln w="190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4" name="Freihandform: Form 3">
              <a:extLst>
                <a:ext uri="{FF2B5EF4-FFF2-40B4-BE49-F238E27FC236}">
                  <a16:creationId xmlns:a16="http://schemas.microsoft.com/office/drawing/2014/main" id="{9ED508CF-86D0-4CCF-BBB2-F14A398BD931}"/>
                </a:ext>
              </a:extLst>
            </p:cNvPr>
            <p:cNvSpPr/>
            <p:nvPr/>
          </p:nvSpPr>
          <p:spPr>
            <a:xfrm>
              <a:off x="9320362" y="330434"/>
              <a:ext cx="243956" cy="345976"/>
            </a:xfrm>
            <a:custGeom>
              <a:avLst/>
              <a:gdLst>
                <a:gd name="connsiteX0" fmla="*/ 142829 w 243956"/>
                <a:gd name="connsiteY0" fmla="*/ 140148 h 345976"/>
                <a:gd name="connsiteX1" fmla="*/ 142829 w 243956"/>
                <a:gd name="connsiteY1" fmla="*/ 140148 h 345976"/>
                <a:gd name="connsiteX2" fmla="*/ 70359 w 243956"/>
                <a:gd name="connsiteY2" fmla="*/ 75189 h 345976"/>
                <a:gd name="connsiteX3" fmla="*/ 119287 w 243956"/>
                <a:gd name="connsiteY3" fmla="*/ 27744 h 345976"/>
                <a:gd name="connsiteX4" fmla="*/ 195351 w 243956"/>
                <a:gd name="connsiteY4" fmla="*/ 64559 h 345976"/>
                <a:gd name="connsiteX5" fmla="*/ 196625 w 243956"/>
                <a:gd name="connsiteY5" fmla="*/ 67145 h 345976"/>
                <a:gd name="connsiteX6" fmla="*/ 221118 w 243956"/>
                <a:gd name="connsiteY6" fmla="*/ 66879 h 345976"/>
                <a:gd name="connsiteX7" fmla="*/ 210526 w 243956"/>
                <a:gd name="connsiteY7" fmla="*/ 5001 h 345976"/>
                <a:gd name="connsiteX8" fmla="*/ 194990 w 243956"/>
                <a:gd name="connsiteY8" fmla="*/ 5001 h 345976"/>
                <a:gd name="connsiteX9" fmla="*/ 192594 w 243956"/>
                <a:gd name="connsiteY9" fmla="*/ 6085 h 345976"/>
                <a:gd name="connsiteX10" fmla="*/ 180291 w 243956"/>
                <a:gd name="connsiteY10" fmla="*/ 8747 h 345976"/>
                <a:gd name="connsiteX11" fmla="*/ 164793 w 243956"/>
                <a:gd name="connsiteY11" fmla="*/ 6180 h 345976"/>
                <a:gd name="connsiteX12" fmla="*/ 155646 w 243956"/>
                <a:gd name="connsiteY12" fmla="*/ 4279 h 345976"/>
                <a:gd name="connsiteX13" fmla="*/ 112765 w 243956"/>
                <a:gd name="connsiteY13" fmla="*/ 0 h 345976"/>
                <a:gd name="connsiteX14" fmla="*/ 8291 w 243956"/>
                <a:gd name="connsiteY14" fmla="*/ 89508 h 345976"/>
                <a:gd name="connsiteX15" fmla="*/ 103675 w 243956"/>
                <a:gd name="connsiteY15" fmla="*/ 190749 h 345976"/>
                <a:gd name="connsiteX16" fmla="*/ 180272 w 243956"/>
                <a:gd name="connsiteY16" fmla="*/ 263333 h 345976"/>
                <a:gd name="connsiteX17" fmla="*/ 117120 w 243956"/>
                <a:gd name="connsiteY17" fmla="*/ 315076 h 345976"/>
                <a:gd name="connsiteX18" fmla="*/ 24417 w 243956"/>
                <a:gd name="connsiteY18" fmla="*/ 271586 h 345976"/>
                <a:gd name="connsiteX19" fmla="*/ 23276 w 243956"/>
                <a:gd name="connsiteY19" fmla="*/ 268734 h 345976"/>
                <a:gd name="connsiteX20" fmla="*/ 0 w 243956"/>
                <a:gd name="connsiteY20" fmla="*/ 268734 h 345976"/>
                <a:gd name="connsiteX21" fmla="*/ 10345 w 243956"/>
                <a:gd name="connsiteY21" fmla="*/ 338371 h 345976"/>
                <a:gd name="connsiteX22" fmla="*/ 29133 w 243956"/>
                <a:gd name="connsiteY22" fmla="*/ 338371 h 345976"/>
                <a:gd name="connsiteX23" fmla="*/ 30445 w 243956"/>
                <a:gd name="connsiteY23" fmla="*/ 337115 h 345976"/>
                <a:gd name="connsiteX24" fmla="*/ 42235 w 243956"/>
                <a:gd name="connsiteY24" fmla="*/ 334491 h 345976"/>
                <a:gd name="connsiteX25" fmla="*/ 62372 w 243956"/>
                <a:gd name="connsiteY25" fmla="*/ 338085 h 345976"/>
                <a:gd name="connsiteX26" fmla="*/ 120942 w 243956"/>
                <a:gd name="connsiteY26" fmla="*/ 345977 h 345976"/>
                <a:gd name="connsiteX27" fmla="*/ 243956 w 243956"/>
                <a:gd name="connsiteY27" fmla="*/ 247988 h 345976"/>
                <a:gd name="connsiteX28" fmla="*/ 142848 w 243956"/>
                <a:gd name="connsiteY28" fmla="*/ 140148 h 3459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243956" h="345976">
                  <a:moveTo>
                    <a:pt x="142829" y="140148"/>
                  </a:moveTo>
                  <a:lnTo>
                    <a:pt x="142829" y="140148"/>
                  </a:lnTo>
                  <a:cubicBezTo>
                    <a:pt x="105558" y="121436"/>
                    <a:pt x="70359" y="103751"/>
                    <a:pt x="70359" y="75189"/>
                  </a:cubicBezTo>
                  <a:cubicBezTo>
                    <a:pt x="70359" y="56059"/>
                    <a:pt x="85914" y="27744"/>
                    <a:pt x="119287" y="27744"/>
                  </a:cubicBezTo>
                  <a:cubicBezTo>
                    <a:pt x="157814" y="27744"/>
                    <a:pt x="180823" y="38298"/>
                    <a:pt x="195351" y="64559"/>
                  </a:cubicBezTo>
                  <a:lnTo>
                    <a:pt x="196625" y="67145"/>
                  </a:lnTo>
                  <a:lnTo>
                    <a:pt x="221118" y="66879"/>
                  </a:lnTo>
                  <a:lnTo>
                    <a:pt x="210526" y="5001"/>
                  </a:lnTo>
                  <a:lnTo>
                    <a:pt x="194990" y="5001"/>
                  </a:lnTo>
                  <a:lnTo>
                    <a:pt x="192594" y="6085"/>
                  </a:lnTo>
                  <a:cubicBezTo>
                    <a:pt x="188783" y="7997"/>
                    <a:pt x="184551" y="8913"/>
                    <a:pt x="180291" y="8747"/>
                  </a:cubicBezTo>
                  <a:cubicBezTo>
                    <a:pt x="173825" y="8500"/>
                    <a:pt x="170973" y="7435"/>
                    <a:pt x="164793" y="6180"/>
                  </a:cubicBezTo>
                  <a:cubicBezTo>
                    <a:pt x="162168" y="5629"/>
                    <a:pt x="159259" y="4887"/>
                    <a:pt x="155646" y="4279"/>
                  </a:cubicBezTo>
                  <a:cubicBezTo>
                    <a:pt x="141528" y="1446"/>
                    <a:pt x="127164" y="13"/>
                    <a:pt x="112765" y="0"/>
                  </a:cubicBezTo>
                  <a:cubicBezTo>
                    <a:pt x="55146" y="0"/>
                    <a:pt x="8291" y="40143"/>
                    <a:pt x="8291" y="89508"/>
                  </a:cubicBezTo>
                  <a:cubicBezTo>
                    <a:pt x="8291" y="139463"/>
                    <a:pt x="56782" y="165572"/>
                    <a:pt x="103675" y="190749"/>
                  </a:cubicBezTo>
                  <a:cubicBezTo>
                    <a:pt x="143057" y="211933"/>
                    <a:pt x="180272" y="231995"/>
                    <a:pt x="180272" y="263333"/>
                  </a:cubicBezTo>
                  <a:cubicBezTo>
                    <a:pt x="180272" y="292827"/>
                    <a:pt x="153117" y="315076"/>
                    <a:pt x="117120" y="315076"/>
                  </a:cubicBezTo>
                  <a:cubicBezTo>
                    <a:pt x="67906" y="315076"/>
                    <a:pt x="37576" y="300833"/>
                    <a:pt x="24417" y="271586"/>
                  </a:cubicBezTo>
                  <a:lnTo>
                    <a:pt x="23276" y="268734"/>
                  </a:lnTo>
                  <a:lnTo>
                    <a:pt x="0" y="268734"/>
                  </a:lnTo>
                  <a:lnTo>
                    <a:pt x="10345" y="338371"/>
                  </a:lnTo>
                  <a:lnTo>
                    <a:pt x="29133" y="338371"/>
                  </a:lnTo>
                  <a:lnTo>
                    <a:pt x="30445" y="337115"/>
                  </a:lnTo>
                  <a:cubicBezTo>
                    <a:pt x="33240" y="334605"/>
                    <a:pt x="36720" y="334434"/>
                    <a:pt x="42235" y="334491"/>
                  </a:cubicBezTo>
                  <a:cubicBezTo>
                    <a:pt x="47749" y="334548"/>
                    <a:pt x="54120" y="336089"/>
                    <a:pt x="62372" y="338085"/>
                  </a:cubicBezTo>
                  <a:cubicBezTo>
                    <a:pt x="81479" y="343202"/>
                    <a:pt x="101162" y="345853"/>
                    <a:pt x="120942" y="345977"/>
                  </a:cubicBezTo>
                  <a:cubicBezTo>
                    <a:pt x="192233" y="345977"/>
                    <a:pt x="243956" y="304769"/>
                    <a:pt x="243956" y="247988"/>
                  </a:cubicBezTo>
                  <a:cubicBezTo>
                    <a:pt x="243956" y="191206"/>
                    <a:pt x="190160" y="163956"/>
                    <a:pt x="142848" y="140148"/>
                  </a:cubicBezTo>
                </a:path>
              </a:pathLst>
            </a:custGeom>
            <a:solidFill>
              <a:srgbClr val="000000"/>
            </a:solidFill>
            <a:ln w="190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5" name="Freihandform: Form 4">
              <a:extLst>
                <a:ext uri="{FF2B5EF4-FFF2-40B4-BE49-F238E27FC236}">
                  <a16:creationId xmlns:a16="http://schemas.microsoft.com/office/drawing/2014/main" id="{0E4A174D-1F39-4604-A5C6-48E726B8CD62}"/>
                </a:ext>
              </a:extLst>
            </p:cNvPr>
            <p:cNvSpPr/>
            <p:nvPr/>
          </p:nvSpPr>
          <p:spPr>
            <a:xfrm>
              <a:off x="9614881" y="339067"/>
              <a:ext cx="243328" cy="329090"/>
            </a:xfrm>
            <a:custGeom>
              <a:avLst/>
              <a:gdLst>
                <a:gd name="connsiteX0" fmla="*/ 16544 w 243328"/>
                <a:gd name="connsiteY0" fmla="*/ 287103 h 329090"/>
                <a:gd name="connsiteX1" fmla="*/ 4126 w 243328"/>
                <a:gd name="connsiteY1" fmla="*/ 305397 h 329090"/>
                <a:gd name="connsiteX2" fmla="*/ 0 w 243328"/>
                <a:gd name="connsiteY2" fmla="*/ 305796 h 329090"/>
                <a:gd name="connsiteX3" fmla="*/ 0 w 243328"/>
                <a:gd name="connsiteY3" fmla="*/ 329091 h 329090"/>
                <a:gd name="connsiteX4" fmla="*/ 235342 w 243328"/>
                <a:gd name="connsiteY4" fmla="*/ 329091 h 329090"/>
                <a:gd name="connsiteX5" fmla="*/ 243329 w 243328"/>
                <a:gd name="connsiteY5" fmla="*/ 263276 h 329090"/>
                <a:gd name="connsiteX6" fmla="*/ 218608 w 243328"/>
                <a:gd name="connsiteY6" fmla="*/ 263467 h 329090"/>
                <a:gd name="connsiteX7" fmla="*/ 217600 w 243328"/>
                <a:gd name="connsiteY7" fmla="*/ 266604 h 329090"/>
                <a:gd name="connsiteX8" fmla="*/ 164698 w 243328"/>
                <a:gd name="connsiteY8" fmla="*/ 296897 h 329090"/>
                <a:gd name="connsiteX9" fmla="*/ 104284 w 243328"/>
                <a:gd name="connsiteY9" fmla="*/ 296897 h 329090"/>
                <a:gd name="connsiteX10" fmla="*/ 80000 w 243328"/>
                <a:gd name="connsiteY10" fmla="*/ 264398 h 329090"/>
                <a:gd name="connsiteX11" fmla="*/ 80000 w 243328"/>
                <a:gd name="connsiteY11" fmla="*/ 175251 h 329090"/>
                <a:gd name="connsiteX12" fmla="*/ 144655 w 243328"/>
                <a:gd name="connsiteY12" fmla="*/ 175251 h 329090"/>
                <a:gd name="connsiteX13" fmla="*/ 174852 w 243328"/>
                <a:gd name="connsiteY13" fmla="*/ 193126 h 329090"/>
                <a:gd name="connsiteX14" fmla="*/ 175537 w 243328"/>
                <a:gd name="connsiteY14" fmla="*/ 196930 h 329090"/>
                <a:gd name="connsiteX15" fmla="*/ 199079 w 243328"/>
                <a:gd name="connsiteY15" fmla="*/ 196930 h 329090"/>
                <a:gd name="connsiteX16" fmla="*/ 199079 w 243328"/>
                <a:gd name="connsiteY16" fmla="*/ 122767 h 329090"/>
                <a:gd name="connsiteX17" fmla="*/ 175917 w 243328"/>
                <a:gd name="connsiteY17" fmla="*/ 122767 h 329090"/>
                <a:gd name="connsiteX18" fmla="*/ 175347 w 243328"/>
                <a:gd name="connsiteY18" fmla="*/ 126570 h 329090"/>
                <a:gd name="connsiteX19" fmla="*/ 144655 w 243328"/>
                <a:gd name="connsiteY19" fmla="*/ 143133 h 329090"/>
                <a:gd name="connsiteX20" fmla="*/ 80000 w 243328"/>
                <a:gd name="connsiteY20" fmla="*/ 143133 h 329090"/>
                <a:gd name="connsiteX21" fmla="*/ 80000 w 243328"/>
                <a:gd name="connsiteY21" fmla="*/ 32213 h 329090"/>
                <a:gd name="connsiteX22" fmla="*/ 166599 w 243328"/>
                <a:gd name="connsiteY22" fmla="*/ 32213 h 329090"/>
                <a:gd name="connsiteX23" fmla="*/ 201950 w 243328"/>
                <a:gd name="connsiteY23" fmla="*/ 55603 h 329090"/>
                <a:gd name="connsiteX24" fmla="*/ 202882 w 243328"/>
                <a:gd name="connsiteY24" fmla="*/ 58950 h 329090"/>
                <a:gd name="connsiteX25" fmla="*/ 227603 w 243328"/>
                <a:gd name="connsiteY25" fmla="*/ 58950 h 329090"/>
                <a:gd name="connsiteX26" fmla="*/ 223533 w 243328"/>
                <a:gd name="connsiteY26" fmla="*/ 0 h 329090"/>
                <a:gd name="connsiteX27" fmla="*/ 361 w 243328"/>
                <a:gd name="connsiteY27" fmla="*/ 0 h 329090"/>
                <a:gd name="connsiteX28" fmla="*/ 361 w 243328"/>
                <a:gd name="connsiteY28" fmla="*/ 23066 h 329090"/>
                <a:gd name="connsiteX29" fmla="*/ 4545 w 243328"/>
                <a:gd name="connsiteY29" fmla="*/ 23352 h 329090"/>
                <a:gd name="connsiteX30" fmla="*/ 16582 w 243328"/>
                <a:gd name="connsiteY30" fmla="*/ 52655 h 3290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243328" h="329090">
                  <a:moveTo>
                    <a:pt x="16544" y="287103"/>
                  </a:moveTo>
                  <a:cubicBezTo>
                    <a:pt x="16202" y="299939"/>
                    <a:pt x="15878" y="304218"/>
                    <a:pt x="4126" y="305397"/>
                  </a:cubicBezTo>
                  <a:lnTo>
                    <a:pt x="0" y="305796"/>
                  </a:lnTo>
                  <a:lnTo>
                    <a:pt x="0" y="329091"/>
                  </a:lnTo>
                  <a:lnTo>
                    <a:pt x="235342" y="329091"/>
                  </a:lnTo>
                  <a:lnTo>
                    <a:pt x="243329" y="263276"/>
                  </a:lnTo>
                  <a:lnTo>
                    <a:pt x="218608" y="263467"/>
                  </a:lnTo>
                  <a:lnTo>
                    <a:pt x="217600" y="266604"/>
                  </a:lnTo>
                  <a:cubicBezTo>
                    <a:pt x="207826" y="297239"/>
                    <a:pt x="197766" y="297144"/>
                    <a:pt x="164698" y="296897"/>
                  </a:cubicBezTo>
                  <a:lnTo>
                    <a:pt x="104284" y="296897"/>
                  </a:lnTo>
                  <a:cubicBezTo>
                    <a:pt x="80666" y="296897"/>
                    <a:pt x="80000" y="292276"/>
                    <a:pt x="80000" y="264398"/>
                  </a:cubicBezTo>
                  <a:lnTo>
                    <a:pt x="80000" y="175251"/>
                  </a:lnTo>
                  <a:lnTo>
                    <a:pt x="144655" y="175251"/>
                  </a:lnTo>
                  <a:cubicBezTo>
                    <a:pt x="166181" y="175251"/>
                    <a:pt x="170688" y="175727"/>
                    <a:pt x="174852" y="193126"/>
                  </a:cubicBezTo>
                  <a:lnTo>
                    <a:pt x="175537" y="196930"/>
                  </a:lnTo>
                  <a:lnTo>
                    <a:pt x="199079" y="196930"/>
                  </a:lnTo>
                  <a:lnTo>
                    <a:pt x="199079" y="122767"/>
                  </a:lnTo>
                  <a:lnTo>
                    <a:pt x="175917" y="122767"/>
                  </a:lnTo>
                  <a:lnTo>
                    <a:pt x="175347" y="126570"/>
                  </a:lnTo>
                  <a:cubicBezTo>
                    <a:pt x="172608" y="141935"/>
                    <a:pt x="167588" y="143133"/>
                    <a:pt x="144655" y="143133"/>
                  </a:cubicBezTo>
                  <a:lnTo>
                    <a:pt x="80000" y="143133"/>
                  </a:lnTo>
                  <a:lnTo>
                    <a:pt x="80000" y="32213"/>
                  </a:lnTo>
                  <a:lnTo>
                    <a:pt x="166599" y="32213"/>
                  </a:lnTo>
                  <a:cubicBezTo>
                    <a:pt x="188829" y="32213"/>
                    <a:pt x="196112" y="32213"/>
                    <a:pt x="201950" y="55603"/>
                  </a:cubicBezTo>
                  <a:lnTo>
                    <a:pt x="202882" y="58950"/>
                  </a:lnTo>
                  <a:lnTo>
                    <a:pt x="227603" y="58950"/>
                  </a:lnTo>
                  <a:lnTo>
                    <a:pt x="223533" y="0"/>
                  </a:lnTo>
                  <a:lnTo>
                    <a:pt x="361" y="0"/>
                  </a:lnTo>
                  <a:lnTo>
                    <a:pt x="361" y="23066"/>
                  </a:lnTo>
                  <a:lnTo>
                    <a:pt x="4545" y="23352"/>
                  </a:lnTo>
                  <a:cubicBezTo>
                    <a:pt x="16411" y="24778"/>
                    <a:pt x="16430" y="29056"/>
                    <a:pt x="16582" y="52655"/>
                  </a:cubicBezTo>
                  <a:close/>
                </a:path>
              </a:pathLst>
            </a:custGeom>
            <a:solidFill>
              <a:srgbClr val="000000"/>
            </a:solidFill>
            <a:ln w="190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6" name="Freihandform: Form 5">
              <a:extLst>
                <a:ext uri="{FF2B5EF4-FFF2-40B4-BE49-F238E27FC236}">
                  <a16:creationId xmlns:a16="http://schemas.microsoft.com/office/drawing/2014/main" id="{8E6F700F-17C6-405B-81D0-2B15A47DEEEF}"/>
                </a:ext>
              </a:extLst>
            </p:cNvPr>
            <p:cNvSpPr/>
            <p:nvPr/>
          </p:nvSpPr>
          <p:spPr>
            <a:xfrm>
              <a:off x="11361159" y="334047"/>
              <a:ext cx="351663" cy="338788"/>
            </a:xfrm>
            <a:custGeom>
              <a:avLst/>
              <a:gdLst>
                <a:gd name="connsiteX0" fmla="*/ 236768 w 351663"/>
                <a:gd name="connsiteY0" fmla="*/ 212960 h 338788"/>
                <a:gd name="connsiteX1" fmla="*/ 204061 w 351663"/>
                <a:gd name="connsiteY1" fmla="*/ 181793 h 338788"/>
                <a:gd name="connsiteX2" fmla="*/ 264170 w 351663"/>
                <a:gd name="connsiteY2" fmla="*/ 96753 h 338788"/>
                <a:gd name="connsiteX3" fmla="*/ 121417 w 351663"/>
                <a:gd name="connsiteY3" fmla="*/ 0 h 338788"/>
                <a:gd name="connsiteX4" fmla="*/ 59007 w 351663"/>
                <a:gd name="connsiteY4" fmla="*/ 1027 h 338788"/>
                <a:gd name="connsiteX5" fmla="*/ 24607 w 351663"/>
                <a:gd name="connsiteY5" fmla="*/ 2700 h 338788"/>
                <a:gd name="connsiteX6" fmla="*/ 10478 w 351663"/>
                <a:gd name="connsiteY6" fmla="*/ 3651 h 338788"/>
                <a:gd name="connsiteX7" fmla="*/ 10478 w 351663"/>
                <a:gd name="connsiteY7" fmla="*/ 26946 h 338788"/>
                <a:gd name="connsiteX8" fmla="*/ 14585 w 351663"/>
                <a:gd name="connsiteY8" fmla="*/ 27136 h 338788"/>
                <a:gd name="connsiteX9" fmla="*/ 28752 w 351663"/>
                <a:gd name="connsiteY9" fmla="*/ 40713 h 338788"/>
                <a:gd name="connsiteX10" fmla="*/ 28562 w 351663"/>
                <a:gd name="connsiteY10" fmla="*/ 281722 h 338788"/>
                <a:gd name="connsiteX11" fmla="*/ 4336 w 351663"/>
                <a:gd name="connsiteY11" fmla="*/ 311083 h 338788"/>
                <a:gd name="connsiteX12" fmla="*/ 0 w 351663"/>
                <a:gd name="connsiteY12" fmla="*/ 311311 h 338788"/>
                <a:gd name="connsiteX13" fmla="*/ 0 w 351663"/>
                <a:gd name="connsiteY13" fmla="*/ 334130 h 338788"/>
                <a:gd name="connsiteX14" fmla="*/ 124175 w 351663"/>
                <a:gd name="connsiteY14" fmla="*/ 334130 h 338788"/>
                <a:gd name="connsiteX15" fmla="*/ 124175 w 351663"/>
                <a:gd name="connsiteY15" fmla="*/ 311178 h 338788"/>
                <a:gd name="connsiteX16" fmla="*/ 119877 w 351663"/>
                <a:gd name="connsiteY16" fmla="*/ 311178 h 338788"/>
                <a:gd name="connsiteX17" fmla="*/ 94833 w 351663"/>
                <a:gd name="connsiteY17" fmla="*/ 267004 h 338788"/>
                <a:gd name="connsiteX18" fmla="*/ 94833 w 351663"/>
                <a:gd name="connsiteY18" fmla="*/ 201760 h 338788"/>
                <a:gd name="connsiteX19" fmla="*/ 134272 w 351663"/>
                <a:gd name="connsiteY19" fmla="*/ 201417 h 338788"/>
                <a:gd name="connsiteX20" fmla="*/ 187517 w 351663"/>
                <a:gd name="connsiteY20" fmla="*/ 249414 h 338788"/>
                <a:gd name="connsiteX21" fmla="*/ 214501 w 351663"/>
                <a:gd name="connsiteY21" fmla="*/ 276626 h 338788"/>
                <a:gd name="connsiteX22" fmla="*/ 230569 w 351663"/>
                <a:gd name="connsiteY22" fmla="*/ 293417 h 338788"/>
                <a:gd name="connsiteX23" fmla="*/ 241731 w 351663"/>
                <a:gd name="connsiteY23" fmla="*/ 305796 h 338788"/>
                <a:gd name="connsiteX24" fmla="*/ 327836 w 351663"/>
                <a:gd name="connsiteY24" fmla="*/ 338789 h 338788"/>
                <a:gd name="connsiteX25" fmla="*/ 346491 w 351663"/>
                <a:gd name="connsiteY25" fmla="*/ 338523 h 338788"/>
                <a:gd name="connsiteX26" fmla="*/ 351663 w 351663"/>
                <a:gd name="connsiteY26" fmla="*/ 338409 h 338788"/>
                <a:gd name="connsiteX27" fmla="*/ 351663 w 351663"/>
                <a:gd name="connsiteY27" fmla="*/ 315494 h 338788"/>
                <a:gd name="connsiteX28" fmla="*/ 346852 w 351663"/>
                <a:gd name="connsiteY28" fmla="*/ 315057 h 338788"/>
                <a:gd name="connsiteX29" fmla="*/ 346852 w 351663"/>
                <a:gd name="connsiteY29" fmla="*/ 315057 h 338788"/>
                <a:gd name="connsiteX30" fmla="*/ 309181 w 351663"/>
                <a:gd name="connsiteY30" fmla="*/ 287807 h 338788"/>
                <a:gd name="connsiteX31" fmla="*/ 278014 w 351663"/>
                <a:gd name="connsiteY31" fmla="*/ 255004 h 338788"/>
                <a:gd name="connsiteX32" fmla="*/ 193374 w 351663"/>
                <a:gd name="connsiteY32" fmla="*/ 101907 h 338788"/>
                <a:gd name="connsiteX33" fmla="*/ 106756 w 351663"/>
                <a:gd name="connsiteY33" fmla="*/ 178769 h 338788"/>
                <a:gd name="connsiteX34" fmla="*/ 94871 w 351663"/>
                <a:gd name="connsiteY34" fmla="*/ 178256 h 338788"/>
                <a:gd name="connsiteX35" fmla="*/ 94871 w 351663"/>
                <a:gd name="connsiteY35" fmla="*/ 24911 h 338788"/>
                <a:gd name="connsiteX36" fmla="*/ 116226 w 351663"/>
                <a:gd name="connsiteY36" fmla="*/ 24664 h 338788"/>
                <a:gd name="connsiteX37" fmla="*/ 193374 w 351663"/>
                <a:gd name="connsiteY37" fmla="*/ 101907 h 3387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351663" h="338788">
                  <a:moveTo>
                    <a:pt x="236768" y="212960"/>
                  </a:moveTo>
                  <a:cubicBezTo>
                    <a:pt x="233193" y="209366"/>
                    <a:pt x="215470" y="191586"/>
                    <a:pt x="204061" y="181793"/>
                  </a:cubicBezTo>
                  <a:cubicBezTo>
                    <a:pt x="243994" y="162986"/>
                    <a:pt x="264170" y="134386"/>
                    <a:pt x="264170" y="96753"/>
                  </a:cubicBezTo>
                  <a:cubicBezTo>
                    <a:pt x="264170" y="67659"/>
                    <a:pt x="250270" y="0"/>
                    <a:pt x="121417" y="0"/>
                  </a:cubicBezTo>
                  <a:cubicBezTo>
                    <a:pt x="110863" y="0"/>
                    <a:pt x="86162" y="0"/>
                    <a:pt x="59007" y="1027"/>
                  </a:cubicBezTo>
                  <a:cubicBezTo>
                    <a:pt x="42634" y="1749"/>
                    <a:pt x="33031" y="2263"/>
                    <a:pt x="24607" y="2700"/>
                  </a:cubicBezTo>
                  <a:lnTo>
                    <a:pt x="10478" y="3651"/>
                  </a:lnTo>
                  <a:lnTo>
                    <a:pt x="10478" y="26946"/>
                  </a:lnTo>
                  <a:lnTo>
                    <a:pt x="14585" y="27136"/>
                  </a:lnTo>
                  <a:cubicBezTo>
                    <a:pt x="24759" y="27877"/>
                    <a:pt x="28619" y="30521"/>
                    <a:pt x="28752" y="40713"/>
                  </a:cubicBezTo>
                  <a:lnTo>
                    <a:pt x="28562" y="281722"/>
                  </a:lnTo>
                  <a:cubicBezTo>
                    <a:pt x="27935" y="301708"/>
                    <a:pt x="26660" y="310037"/>
                    <a:pt x="4336" y="311083"/>
                  </a:cubicBezTo>
                  <a:lnTo>
                    <a:pt x="0" y="311311"/>
                  </a:lnTo>
                  <a:lnTo>
                    <a:pt x="0" y="334130"/>
                  </a:lnTo>
                  <a:lnTo>
                    <a:pt x="124175" y="334130"/>
                  </a:lnTo>
                  <a:lnTo>
                    <a:pt x="124175" y="311178"/>
                  </a:lnTo>
                  <a:lnTo>
                    <a:pt x="119877" y="311178"/>
                  </a:lnTo>
                  <a:cubicBezTo>
                    <a:pt x="94814" y="309942"/>
                    <a:pt x="94833" y="304218"/>
                    <a:pt x="94833" y="267004"/>
                  </a:cubicBezTo>
                  <a:lnTo>
                    <a:pt x="94833" y="201760"/>
                  </a:lnTo>
                  <a:cubicBezTo>
                    <a:pt x="107973" y="202526"/>
                    <a:pt x="121151" y="202410"/>
                    <a:pt x="134272" y="201417"/>
                  </a:cubicBezTo>
                  <a:cubicBezTo>
                    <a:pt x="154334" y="216402"/>
                    <a:pt x="161864" y="223514"/>
                    <a:pt x="187517" y="249414"/>
                  </a:cubicBezTo>
                  <a:lnTo>
                    <a:pt x="214501" y="276626"/>
                  </a:lnTo>
                  <a:cubicBezTo>
                    <a:pt x="220624" y="282825"/>
                    <a:pt x="225910" y="288454"/>
                    <a:pt x="230569" y="293417"/>
                  </a:cubicBezTo>
                  <a:cubicBezTo>
                    <a:pt x="234791" y="297904"/>
                    <a:pt x="238461" y="302088"/>
                    <a:pt x="241731" y="305796"/>
                  </a:cubicBezTo>
                  <a:cubicBezTo>
                    <a:pt x="261698" y="328444"/>
                    <a:pt x="270826" y="338789"/>
                    <a:pt x="327836" y="338789"/>
                  </a:cubicBezTo>
                  <a:cubicBezTo>
                    <a:pt x="333541" y="338789"/>
                    <a:pt x="339607" y="338789"/>
                    <a:pt x="346491" y="338523"/>
                  </a:cubicBezTo>
                  <a:lnTo>
                    <a:pt x="351663" y="338409"/>
                  </a:lnTo>
                  <a:lnTo>
                    <a:pt x="351663" y="315494"/>
                  </a:lnTo>
                  <a:lnTo>
                    <a:pt x="346852" y="315057"/>
                  </a:lnTo>
                  <a:lnTo>
                    <a:pt x="346852" y="315057"/>
                  </a:lnTo>
                  <a:cubicBezTo>
                    <a:pt x="333408" y="313802"/>
                    <a:pt x="325326" y="305112"/>
                    <a:pt x="309181" y="287807"/>
                  </a:cubicBezTo>
                  <a:lnTo>
                    <a:pt x="278014" y="255004"/>
                  </a:lnTo>
                  <a:close/>
                  <a:moveTo>
                    <a:pt x="193374" y="101907"/>
                  </a:moveTo>
                  <a:cubicBezTo>
                    <a:pt x="193374" y="154676"/>
                    <a:pt x="169357" y="176354"/>
                    <a:pt x="106756" y="178769"/>
                  </a:cubicBezTo>
                  <a:cubicBezTo>
                    <a:pt x="104854" y="178769"/>
                    <a:pt x="99416" y="178769"/>
                    <a:pt x="94871" y="178256"/>
                  </a:cubicBezTo>
                  <a:lnTo>
                    <a:pt x="94871" y="24911"/>
                  </a:lnTo>
                  <a:cubicBezTo>
                    <a:pt x="101089" y="24664"/>
                    <a:pt x="110635" y="24664"/>
                    <a:pt x="116226" y="24664"/>
                  </a:cubicBezTo>
                  <a:cubicBezTo>
                    <a:pt x="167645" y="24645"/>
                    <a:pt x="193374" y="50621"/>
                    <a:pt x="193374" y="101907"/>
                  </a:cubicBezTo>
                  <a:close/>
                </a:path>
              </a:pathLst>
            </a:custGeom>
            <a:solidFill>
              <a:srgbClr val="000000"/>
            </a:solidFill>
            <a:ln w="190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9" name="Freihandform: Form 8">
              <a:extLst>
                <a:ext uri="{FF2B5EF4-FFF2-40B4-BE49-F238E27FC236}">
                  <a16:creationId xmlns:a16="http://schemas.microsoft.com/office/drawing/2014/main" id="{E61F8F61-0A3A-4A54-9246-6A366390E4DB}"/>
                </a:ext>
              </a:extLst>
            </p:cNvPr>
            <p:cNvSpPr/>
            <p:nvPr/>
          </p:nvSpPr>
          <p:spPr>
            <a:xfrm>
              <a:off x="10279262" y="339029"/>
              <a:ext cx="336564" cy="329223"/>
            </a:xfrm>
            <a:custGeom>
              <a:avLst/>
              <a:gdLst>
                <a:gd name="connsiteX0" fmla="*/ 197272 w 336564"/>
                <a:gd name="connsiteY0" fmla="*/ 0 h 329223"/>
                <a:gd name="connsiteX1" fmla="*/ 147450 w 336564"/>
                <a:gd name="connsiteY1" fmla="*/ 0 h 329223"/>
                <a:gd name="connsiteX2" fmla="*/ 40580 w 336564"/>
                <a:gd name="connsiteY2" fmla="*/ 267289 h 329223"/>
                <a:gd name="connsiteX3" fmla="*/ 4241 w 336564"/>
                <a:gd name="connsiteY3" fmla="*/ 306119 h 329223"/>
                <a:gd name="connsiteX4" fmla="*/ 0 w 336564"/>
                <a:gd name="connsiteY4" fmla="*/ 306405 h 329223"/>
                <a:gd name="connsiteX5" fmla="*/ 0 w 336564"/>
                <a:gd name="connsiteY5" fmla="*/ 329224 h 329223"/>
                <a:gd name="connsiteX6" fmla="*/ 92171 w 336564"/>
                <a:gd name="connsiteY6" fmla="*/ 329224 h 329223"/>
                <a:gd name="connsiteX7" fmla="*/ 92171 w 336564"/>
                <a:gd name="connsiteY7" fmla="*/ 306576 h 329223"/>
                <a:gd name="connsiteX8" fmla="*/ 88025 w 336564"/>
                <a:gd name="connsiteY8" fmla="*/ 306214 h 329223"/>
                <a:gd name="connsiteX9" fmla="*/ 67469 w 336564"/>
                <a:gd name="connsiteY9" fmla="*/ 290602 h 329223"/>
                <a:gd name="connsiteX10" fmla="*/ 72394 w 336564"/>
                <a:gd name="connsiteY10" fmla="*/ 272081 h 329223"/>
                <a:gd name="connsiteX11" fmla="*/ 97115 w 336564"/>
                <a:gd name="connsiteY11" fmla="*/ 208263 h 329223"/>
                <a:gd name="connsiteX12" fmla="*/ 210716 w 336564"/>
                <a:gd name="connsiteY12" fmla="*/ 208263 h 329223"/>
                <a:gd name="connsiteX13" fmla="*/ 235437 w 336564"/>
                <a:gd name="connsiteY13" fmla="*/ 271929 h 329223"/>
                <a:gd name="connsiteX14" fmla="*/ 241807 w 336564"/>
                <a:gd name="connsiteY14" fmla="*/ 291991 h 329223"/>
                <a:gd name="connsiteX15" fmla="*/ 241960 w 336564"/>
                <a:gd name="connsiteY15" fmla="*/ 292751 h 329223"/>
                <a:gd name="connsiteX16" fmla="*/ 240267 w 336564"/>
                <a:gd name="connsiteY16" fmla="*/ 300224 h 329223"/>
                <a:gd name="connsiteX17" fmla="*/ 221879 w 336564"/>
                <a:gd name="connsiteY17" fmla="*/ 305815 h 329223"/>
                <a:gd name="connsiteX18" fmla="*/ 217695 w 336564"/>
                <a:gd name="connsiteY18" fmla="*/ 306138 h 329223"/>
                <a:gd name="connsiteX19" fmla="*/ 217695 w 336564"/>
                <a:gd name="connsiteY19" fmla="*/ 329148 h 329223"/>
                <a:gd name="connsiteX20" fmla="*/ 336564 w 336564"/>
                <a:gd name="connsiteY20" fmla="*/ 329148 h 329223"/>
                <a:gd name="connsiteX21" fmla="*/ 336564 w 336564"/>
                <a:gd name="connsiteY21" fmla="*/ 306557 h 329223"/>
                <a:gd name="connsiteX22" fmla="*/ 332229 w 336564"/>
                <a:gd name="connsiteY22" fmla="*/ 306329 h 329223"/>
                <a:gd name="connsiteX23" fmla="*/ 299901 w 336564"/>
                <a:gd name="connsiteY23" fmla="*/ 272537 h 329223"/>
                <a:gd name="connsiteX24" fmla="*/ 197614 w 336564"/>
                <a:gd name="connsiteY24" fmla="*/ 174091 h 329223"/>
                <a:gd name="connsiteX25" fmla="*/ 110141 w 336564"/>
                <a:gd name="connsiteY25" fmla="*/ 174091 h 329223"/>
                <a:gd name="connsiteX26" fmla="*/ 154562 w 336564"/>
                <a:gd name="connsiteY26" fmla="*/ 60129 h 3292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336564" h="329223">
                  <a:moveTo>
                    <a:pt x="197272" y="0"/>
                  </a:moveTo>
                  <a:lnTo>
                    <a:pt x="147450" y="0"/>
                  </a:lnTo>
                  <a:lnTo>
                    <a:pt x="40580" y="267289"/>
                  </a:lnTo>
                  <a:cubicBezTo>
                    <a:pt x="27896" y="298912"/>
                    <a:pt x="25595" y="304617"/>
                    <a:pt x="4241" y="306119"/>
                  </a:cubicBezTo>
                  <a:lnTo>
                    <a:pt x="0" y="306405"/>
                  </a:lnTo>
                  <a:lnTo>
                    <a:pt x="0" y="329224"/>
                  </a:lnTo>
                  <a:lnTo>
                    <a:pt x="92171" y="329224"/>
                  </a:lnTo>
                  <a:lnTo>
                    <a:pt x="92171" y="306576"/>
                  </a:lnTo>
                  <a:lnTo>
                    <a:pt x="88025" y="306214"/>
                  </a:lnTo>
                  <a:cubicBezTo>
                    <a:pt x="70911" y="304313"/>
                    <a:pt x="66936" y="297809"/>
                    <a:pt x="67469" y="290602"/>
                  </a:cubicBezTo>
                  <a:cubicBezTo>
                    <a:pt x="67811" y="286096"/>
                    <a:pt x="69161" y="280790"/>
                    <a:pt x="72394" y="272081"/>
                  </a:cubicBezTo>
                  <a:lnTo>
                    <a:pt x="97115" y="208263"/>
                  </a:lnTo>
                  <a:lnTo>
                    <a:pt x="210716" y="208263"/>
                  </a:lnTo>
                  <a:lnTo>
                    <a:pt x="235437" y="271929"/>
                  </a:lnTo>
                  <a:cubicBezTo>
                    <a:pt x="239411" y="283205"/>
                    <a:pt x="240286" y="285392"/>
                    <a:pt x="241807" y="291991"/>
                  </a:cubicBezTo>
                  <a:lnTo>
                    <a:pt x="241960" y="292751"/>
                  </a:lnTo>
                  <a:cubicBezTo>
                    <a:pt x="242587" y="295370"/>
                    <a:pt x="241961" y="298131"/>
                    <a:pt x="240267" y="300224"/>
                  </a:cubicBezTo>
                  <a:cubicBezTo>
                    <a:pt x="237871" y="303229"/>
                    <a:pt x="231957" y="305035"/>
                    <a:pt x="221879" y="305815"/>
                  </a:cubicBezTo>
                  <a:lnTo>
                    <a:pt x="217695" y="306138"/>
                  </a:lnTo>
                  <a:lnTo>
                    <a:pt x="217695" y="329148"/>
                  </a:lnTo>
                  <a:lnTo>
                    <a:pt x="336564" y="329148"/>
                  </a:lnTo>
                  <a:lnTo>
                    <a:pt x="336564" y="306557"/>
                  </a:lnTo>
                  <a:lnTo>
                    <a:pt x="332229" y="306329"/>
                  </a:lnTo>
                  <a:cubicBezTo>
                    <a:pt x="311901" y="305397"/>
                    <a:pt x="310056" y="300377"/>
                    <a:pt x="299901" y="272537"/>
                  </a:cubicBezTo>
                  <a:close/>
                  <a:moveTo>
                    <a:pt x="197614" y="174091"/>
                  </a:moveTo>
                  <a:lnTo>
                    <a:pt x="110141" y="174091"/>
                  </a:lnTo>
                  <a:lnTo>
                    <a:pt x="154562" y="60129"/>
                  </a:lnTo>
                  <a:close/>
                </a:path>
              </a:pathLst>
            </a:custGeom>
            <a:solidFill>
              <a:srgbClr val="000000"/>
            </a:solidFill>
            <a:ln w="190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16" name="Freihandform: Form 15">
              <a:extLst>
                <a:ext uri="{FF2B5EF4-FFF2-40B4-BE49-F238E27FC236}">
                  <a16:creationId xmlns:a16="http://schemas.microsoft.com/office/drawing/2014/main" id="{10579C9B-9230-4FA8-B8AD-1FA518105368}"/>
                </a:ext>
              </a:extLst>
            </p:cNvPr>
            <p:cNvSpPr/>
            <p:nvPr/>
          </p:nvSpPr>
          <p:spPr>
            <a:xfrm>
              <a:off x="10972339" y="330434"/>
              <a:ext cx="355447" cy="345976"/>
            </a:xfrm>
            <a:custGeom>
              <a:avLst/>
              <a:gdLst>
                <a:gd name="connsiteX0" fmla="*/ 177724 w 355447"/>
                <a:gd name="connsiteY0" fmla="*/ 0 h 345976"/>
                <a:gd name="connsiteX1" fmla="*/ 0 w 355447"/>
                <a:gd name="connsiteY1" fmla="*/ 181755 h 345976"/>
                <a:gd name="connsiteX2" fmla="*/ 175822 w 355447"/>
                <a:gd name="connsiteY2" fmla="*/ 345977 h 345976"/>
                <a:gd name="connsiteX3" fmla="*/ 355447 w 355447"/>
                <a:gd name="connsiteY3" fmla="*/ 167322 h 345976"/>
                <a:gd name="connsiteX4" fmla="*/ 177724 w 355447"/>
                <a:gd name="connsiteY4" fmla="*/ 0 h 345976"/>
                <a:gd name="connsiteX5" fmla="*/ 288948 w 355447"/>
                <a:gd name="connsiteY5" fmla="*/ 180196 h 345976"/>
                <a:gd name="connsiteX6" fmla="*/ 183409 w 355447"/>
                <a:gd name="connsiteY6" fmla="*/ 320381 h 345976"/>
                <a:gd name="connsiteX7" fmla="*/ 66518 w 355447"/>
                <a:gd name="connsiteY7" fmla="*/ 167835 h 345976"/>
                <a:gd name="connsiteX8" fmla="*/ 173920 w 355447"/>
                <a:gd name="connsiteY8" fmla="*/ 25577 h 345976"/>
                <a:gd name="connsiteX9" fmla="*/ 288948 w 355447"/>
                <a:gd name="connsiteY9" fmla="*/ 180196 h 3459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55447" h="345976">
                  <a:moveTo>
                    <a:pt x="177724" y="0"/>
                  </a:moveTo>
                  <a:cubicBezTo>
                    <a:pt x="74676" y="0"/>
                    <a:pt x="0" y="76425"/>
                    <a:pt x="0" y="181755"/>
                  </a:cubicBezTo>
                  <a:cubicBezTo>
                    <a:pt x="0" y="276835"/>
                    <a:pt x="73953" y="345977"/>
                    <a:pt x="175822" y="345977"/>
                  </a:cubicBezTo>
                  <a:cubicBezTo>
                    <a:pt x="278223" y="345977"/>
                    <a:pt x="355447" y="269171"/>
                    <a:pt x="355447" y="167322"/>
                  </a:cubicBezTo>
                  <a:cubicBezTo>
                    <a:pt x="355447" y="68800"/>
                    <a:pt x="282369" y="0"/>
                    <a:pt x="177724" y="0"/>
                  </a:cubicBezTo>
                  <a:close/>
                  <a:moveTo>
                    <a:pt x="288948" y="180196"/>
                  </a:moveTo>
                  <a:cubicBezTo>
                    <a:pt x="288948" y="264056"/>
                    <a:pt x="246543" y="320381"/>
                    <a:pt x="183409" y="320381"/>
                  </a:cubicBezTo>
                  <a:cubicBezTo>
                    <a:pt x="125316" y="320381"/>
                    <a:pt x="66518" y="267973"/>
                    <a:pt x="66518" y="167835"/>
                  </a:cubicBezTo>
                  <a:cubicBezTo>
                    <a:pt x="66518" y="80095"/>
                    <a:pt x="107669" y="25577"/>
                    <a:pt x="173920" y="25577"/>
                  </a:cubicBezTo>
                  <a:cubicBezTo>
                    <a:pt x="241636" y="25577"/>
                    <a:pt x="288948" y="89166"/>
                    <a:pt x="288948" y="180196"/>
                  </a:cubicBezTo>
                  <a:close/>
                </a:path>
              </a:pathLst>
            </a:custGeom>
            <a:solidFill>
              <a:srgbClr val="000000"/>
            </a:solidFill>
            <a:ln w="190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17" name="Freihandform: Form 16">
              <a:extLst>
                <a:ext uri="{FF2B5EF4-FFF2-40B4-BE49-F238E27FC236}">
                  <a16:creationId xmlns:a16="http://schemas.microsoft.com/office/drawing/2014/main" id="{CF9930E1-FE54-4F3B-9AA4-8FAFAEBA68E4}"/>
                </a:ext>
              </a:extLst>
            </p:cNvPr>
            <p:cNvSpPr/>
            <p:nvPr/>
          </p:nvSpPr>
          <p:spPr>
            <a:xfrm>
              <a:off x="10629233" y="330434"/>
              <a:ext cx="319735" cy="345976"/>
            </a:xfrm>
            <a:custGeom>
              <a:avLst/>
              <a:gdLst>
                <a:gd name="connsiteX0" fmla="*/ 319735 w 319735"/>
                <a:gd name="connsiteY0" fmla="*/ 268620 h 345976"/>
                <a:gd name="connsiteX1" fmla="*/ 293455 w 319735"/>
                <a:gd name="connsiteY1" fmla="*/ 268943 h 345976"/>
                <a:gd name="connsiteX2" fmla="*/ 292143 w 319735"/>
                <a:gd name="connsiteY2" fmla="*/ 270750 h 345976"/>
                <a:gd name="connsiteX3" fmla="*/ 193260 w 319735"/>
                <a:gd name="connsiteY3" fmla="*/ 318290 h 345976"/>
                <a:gd name="connsiteX4" fmla="*/ 114134 w 319735"/>
                <a:gd name="connsiteY4" fmla="*/ 286875 h 345976"/>
                <a:gd name="connsiteX5" fmla="*/ 67792 w 319735"/>
                <a:gd name="connsiteY5" fmla="*/ 165743 h 345976"/>
                <a:gd name="connsiteX6" fmla="*/ 184588 w 319735"/>
                <a:gd name="connsiteY6" fmla="*/ 25538 h 345976"/>
                <a:gd name="connsiteX7" fmla="*/ 291382 w 319735"/>
                <a:gd name="connsiteY7" fmla="*/ 81864 h 345976"/>
                <a:gd name="connsiteX8" fmla="*/ 292675 w 319735"/>
                <a:gd name="connsiteY8" fmla="*/ 84412 h 345976"/>
                <a:gd name="connsiteX9" fmla="*/ 314449 w 319735"/>
                <a:gd name="connsiteY9" fmla="*/ 84070 h 345976"/>
                <a:gd name="connsiteX10" fmla="*/ 312338 w 319735"/>
                <a:gd name="connsiteY10" fmla="*/ 14851 h 345976"/>
                <a:gd name="connsiteX11" fmla="*/ 294482 w 319735"/>
                <a:gd name="connsiteY11" fmla="*/ 14851 h 345976"/>
                <a:gd name="connsiteX12" fmla="*/ 293550 w 319735"/>
                <a:gd name="connsiteY12" fmla="*/ 15479 h 345976"/>
                <a:gd name="connsiteX13" fmla="*/ 286761 w 319735"/>
                <a:gd name="connsiteY13" fmla="*/ 16981 h 345976"/>
                <a:gd name="connsiteX14" fmla="*/ 266053 w 319735"/>
                <a:gd name="connsiteY14" fmla="*/ 12608 h 345976"/>
                <a:gd name="connsiteX15" fmla="*/ 182668 w 319735"/>
                <a:gd name="connsiteY15" fmla="*/ 0 h 345976"/>
                <a:gd name="connsiteX16" fmla="*/ 0 w 319735"/>
                <a:gd name="connsiteY16" fmla="*/ 179150 h 345976"/>
                <a:gd name="connsiteX17" fmla="*/ 178750 w 319735"/>
                <a:gd name="connsiteY17" fmla="*/ 345977 h 345976"/>
                <a:gd name="connsiteX18" fmla="*/ 242682 w 319735"/>
                <a:gd name="connsiteY18" fmla="*/ 338580 h 345976"/>
                <a:gd name="connsiteX19" fmla="*/ 275865 w 319735"/>
                <a:gd name="connsiteY19" fmla="*/ 334111 h 345976"/>
                <a:gd name="connsiteX20" fmla="*/ 280733 w 319735"/>
                <a:gd name="connsiteY20" fmla="*/ 333959 h 345976"/>
                <a:gd name="connsiteX21" fmla="*/ 291458 w 319735"/>
                <a:gd name="connsiteY21" fmla="*/ 334206 h 345976"/>
                <a:gd name="connsiteX22" fmla="*/ 296345 w 319735"/>
                <a:gd name="connsiteY22" fmla="*/ 334681 h 3459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319735" h="345976">
                  <a:moveTo>
                    <a:pt x="319735" y="268620"/>
                  </a:moveTo>
                  <a:lnTo>
                    <a:pt x="293455" y="268943"/>
                  </a:lnTo>
                  <a:lnTo>
                    <a:pt x="292143" y="270750"/>
                  </a:lnTo>
                  <a:cubicBezTo>
                    <a:pt x="265520" y="303533"/>
                    <a:pt x="237700" y="316863"/>
                    <a:pt x="193260" y="318290"/>
                  </a:cubicBezTo>
                  <a:cubicBezTo>
                    <a:pt x="163614" y="319355"/>
                    <a:pt x="136345" y="308382"/>
                    <a:pt x="114134" y="286875"/>
                  </a:cubicBezTo>
                  <a:cubicBezTo>
                    <a:pt x="84678" y="258351"/>
                    <a:pt x="67792" y="214215"/>
                    <a:pt x="67792" y="165743"/>
                  </a:cubicBezTo>
                  <a:cubicBezTo>
                    <a:pt x="67792" y="81883"/>
                    <a:pt x="114724" y="25538"/>
                    <a:pt x="184588" y="25538"/>
                  </a:cubicBezTo>
                  <a:cubicBezTo>
                    <a:pt x="233612" y="25538"/>
                    <a:pt x="274534" y="47103"/>
                    <a:pt x="291382" y="81864"/>
                  </a:cubicBezTo>
                  <a:lnTo>
                    <a:pt x="292675" y="84412"/>
                  </a:lnTo>
                  <a:lnTo>
                    <a:pt x="314449" y="84070"/>
                  </a:lnTo>
                  <a:lnTo>
                    <a:pt x="312338" y="14851"/>
                  </a:lnTo>
                  <a:lnTo>
                    <a:pt x="294482" y="14851"/>
                  </a:lnTo>
                  <a:lnTo>
                    <a:pt x="293550" y="15479"/>
                  </a:lnTo>
                  <a:cubicBezTo>
                    <a:pt x="291498" y="16674"/>
                    <a:pt x="289125" y="17199"/>
                    <a:pt x="286761" y="16981"/>
                  </a:cubicBezTo>
                  <a:cubicBezTo>
                    <a:pt x="282559" y="16829"/>
                    <a:pt x="275352" y="15080"/>
                    <a:pt x="266053" y="12608"/>
                  </a:cubicBezTo>
                  <a:cubicBezTo>
                    <a:pt x="246999" y="7606"/>
                    <a:pt x="218114" y="0"/>
                    <a:pt x="182668" y="0"/>
                  </a:cubicBezTo>
                  <a:cubicBezTo>
                    <a:pt x="56478" y="0"/>
                    <a:pt x="0" y="89965"/>
                    <a:pt x="0" y="179150"/>
                  </a:cubicBezTo>
                  <a:cubicBezTo>
                    <a:pt x="0" y="280486"/>
                    <a:pt x="70169" y="345977"/>
                    <a:pt x="178750" y="345977"/>
                  </a:cubicBezTo>
                  <a:cubicBezTo>
                    <a:pt x="203015" y="345977"/>
                    <a:pt x="224940" y="341888"/>
                    <a:pt x="242682" y="338580"/>
                  </a:cubicBezTo>
                  <a:cubicBezTo>
                    <a:pt x="254643" y="336336"/>
                    <a:pt x="266167" y="334320"/>
                    <a:pt x="275865" y="334111"/>
                  </a:cubicBezTo>
                  <a:cubicBezTo>
                    <a:pt x="277995" y="334111"/>
                    <a:pt x="279478" y="334111"/>
                    <a:pt x="280733" y="333959"/>
                  </a:cubicBezTo>
                  <a:cubicBezTo>
                    <a:pt x="284310" y="333862"/>
                    <a:pt x="287889" y="333944"/>
                    <a:pt x="291458" y="334206"/>
                  </a:cubicBezTo>
                  <a:lnTo>
                    <a:pt x="296345" y="334681"/>
                  </a:lnTo>
                  <a:close/>
                </a:path>
              </a:pathLst>
            </a:custGeom>
            <a:solidFill>
              <a:srgbClr val="000000"/>
            </a:solidFill>
            <a:ln w="190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</p:grpSp>
      <p:sp>
        <p:nvSpPr>
          <p:cNvPr id="33" name="Foliennummernplatzhalter 5">
            <a:extLst>
              <a:ext uri="{FF2B5EF4-FFF2-40B4-BE49-F238E27FC236}">
                <a16:creationId xmlns:a16="http://schemas.microsoft.com/office/drawing/2014/main" id="{02713C31-844A-4158-8195-F5D5AF250EE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55481" y="6602770"/>
            <a:ext cx="157094" cy="153888"/>
          </a:xfrm>
          <a:prstGeom prst="rect">
            <a:avLst/>
          </a:prstGeom>
        </p:spPr>
        <p:txBody>
          <a:bodyPr vert="horz" wrap="none" lIns="0" tIns="0" rIns="0" bIns="0" rtlCol="0" anchor="b">
            <a:spAutoFit/>
          </a:bodyPr>
          <a:lstStyle>
            <a:lvl1pPr algn="r" rtl="0">
              <a:defRPr sz="1000">
                <a:solidFill>
                  <a:schemeClr val="tx2"/>
                </a:solidFill>
              </a:defRPr>
            </a:lvl1pPr>
          </a:lstStyle>
          <a:p>
            <a:fld id="{C50CBA42-791E-4851-9FB4-39A223136DC3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34" name="Fußzeilenplatzhalter 2">
            <a:extLst>
              <a:ext uri="{FF2B5EF4-FFF2-40B4-BE49-F238E27FC236}">
                <a16:creationId xmlns:a16="http://schemas.microsoft.com/office/drawing/2014/main" id="{369BAB78-9971-49D2-9300-BB7BAB8C26E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 flipH="1">
            <a:off x="479423" y="6633547"/>
            <a:ext cx="7246798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rtl="0">
              <a:defRPr lang="de-DE" sz="800">
                <a:solidFill>
                  <a:schemeClr val="tx2"/>
                </a:solidFill>
              </a:defRPr>
            </a:lvl1pPr>
          </a:lstStyle>
          <a:p>
            <a:r>
              <a:rPr lang="en-GB"/>
              <a:t>Senacor  |  Deutsche Bank  |  Request for Proposal – Miles &amp; More // Mobile app solution development </a:t>
            </a:r>
          </a:p>
        </p:txBody>
      </p:sp>
      <p:sp>
        <p:nvSpPr>
          <p:cNvPr id="11" name="Datumsplatzhalter 3">
            <a:extLst>
              <a:ext uri="{FF2B5EF4-FFF2-40B4-BE49-F238E27FC236}">
                <a16:creationId xmlns:a16="http://schemas.microsoft.com/office/drawing/2014/main" id="{D39EDA11-6BB0-1576-95F0-C55020B8E8D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182100" y="6633547"/>
            <a:ext cx="125012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 rtl="0">
              <a:defRPr sz="800">
                <a:solidFill>
                  <a:schemeClr val="tx2"/>
                </a:solidFill>
              </a:defRPr>
            </a:lvl1pPr>
          </a:lstStyle>
          <a:p>
            <a:r>
              <a:rPr lang="de-DE"/>
              <a:t>August 2023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0008160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>
            <a:extLst>
              <a:ext uri="{FF2B5EF4-FFF2-40B4-BE49-F238E27FC236}">
                <a16:creationId xmlns:a16="http://schemas.microsoft.com/office/drawing/2014/main" id="{BF5B2E27-0C9F-4352-BB5F-50F1F9BD9ED5}"/>
              </a:ext>
            </a:extLst>
          </p:cNvPr>
          <p:cNvSpPr/>
          <p:nvPr userDrawn="1"/>
        </p:nvSpPr>
        <p:spPr>
          <a:xfrm>
            <a:off x="8620433" y="0"/>
            <a:ext cx="3571568" cy="6858000"/>
          </a:xfrm>
          <a:prstGeom prst="rect">
            <a:avLst/>
          </a:prstGeom>
          <a:solidFill>
            <a:schemeClr val="accent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rtl="0"/>
            <a:endParaRPr lang="en-GB" sz="1200">
              <a:solidFill>
                <a:schemeClr val="tx1"/>
              </a:solidFill>
            </a:endParaRPr>
          </a:p>
        </p:txBody>
      </p:sp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1FD5C9B0-1B07-4EBC-906A-D849907DEDC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1FD5C9B0-1B07-4EBC-906A-D849907DED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61F9098E-7D0E-4766-9BC5-644ACA3F13E5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635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rtl="0"/>
            <a:endParaRPr lang="en-GB" sz="2200" b="1" i="0" baseline="0">
              <a:solidFill>
                <a:schemeClr val="tx1"/>
              </a:solidFill>
              <a:latin typeface="Arial" panose="020B0604020202020204" pitchFamily="34" charset="0"/>
              <a:ea typeface="Malgun Gothic Semilight" panose="020B0502040204020203" pitchFamily="34" charset="-128"/>
              <a:cs typeface="Malgun Gothic Semilight" panose="020B0502040204020203" pitchFamily="34" charset="-128"/>
              <a:sym typeface="Arial" panose="020B0604020202020204" pitchFamily="34" charset="0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34E8994-30E7-42C9-8B97-D389F537197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87541" y="6633547"/>
            <a:ext cx="125034" cy="123111"/>
          </a:xfrm>
          <a:prstGeom prst="rect">
            <a:avLst/>
          </a:prstGeom>
        </p:spPr>
        <p:txBody>
          <a:bodyPr/>
          <a:lstStyle>
            <a:lvl1pPr algn="r" rtl="0">
              <a:defRPr/>
            </a:lvl1pPr>
          </a:lstStyle>
          <a:p>
            <a:fld id="{C50CBA42-791E-4851-9FB4-39A223136DC3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5" name="Textplatzhalter 14">
            <a:extLst>
              <a:ext uri="{FF2B5EF4-FFF2-40B4-BE49-F238E27FC236}">
                <a16:creationId xmlns:a16="http://schemas.microsoft.com/office/drawing/2014/main" id="{BB8EC43E-B232-4253-AFDF-4EF8A3B5B7F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79424" y="371143"/>
            <a:ext cx="8141008" cy="215444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/>
              <a:t>Kapitelüberschrift eingeben</a:t>
            </a:r>
          </a:p>
        </p:txBody>
      </p:sp>
      <p:sp>
        <p:nvSpPr>
          <p:cNvPr id="25" name="Content Placeholder 24">
            <a:extLst>
              <a:ext uri="{FF2B5EF4-FFF2-40B4-BE49-F238E27FC236}">
                <a16:creationId xmlns:a16="http://schemas.microsoft.com/office/drawing/2014/main" id="{37A2152B-E3B7-40B3-890F-10D4484D682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479423" y="1850370"/>
            <a:ext cx="8136000" cy="4122017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GB"/>
              <a:t>Mastertextformat bearbeiten</a:t>
            </a:r>
          </a:p>
          <a:p>
            <a:pPr lvl="1"/>
            <a:r>
              <a:rPr lang="en-GB"/>
              <a:t>Zweite Ebene</a:t>
            </a:r>
          </a:p>
          <a:p>
            <a:pPr lvl="2"/>
            <a:r>
              <a:rPr lang="en-GB"/>
              <a:t>Dritte Ebene</a:t>
            </a:r>
          </a:p>
          <a:p>
            <a:pPr lvl="3"/>
            <a:r>
              <a:rPr lang="en-GB"/>
              <a:t>Vierte Ebene</a:t>
            </a:r>
          </a:p>
          <a:p>
            <a:pPr lvl="4"/>
            <a:r>
              <a:rPr lang="en-GB"/>
              <a:t>Fünfte Ebene</a:t>
            </a:r>
          </a:p>
        </p:txBody>
      </p:sp>
      <p:sp>
        <p:nvSpPr>
          <p:cNvPr id="11" name="Fußzeilenplatzhalter 2">
            <a:extLst>
              <a:ext uri="{FF2B5EF4-FFF2-40B4-BE49-F238E27FC236}">
                <a16:creationId xmlns:a16="http://schemas.microsoft.com/office/drawing/2014/main" id="{53712EDA-C950-4774-86F3-2E0D9426DA8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 flipH="1">
            <a:off x="479423" y="6633547"/>
            <a:ext cx="7246798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rtl="0">
              <a:defRPr lang="de-DE" sz="800">
                <a:solidFill>
                  <a:schemeClr val="tx2"/>
                </a:solidFill>
              </a:defRPr>
            </a:lvl1pPr>
          </a:lstStyle>
          <a:p>
            <a:r>
              <a:rPr lang="en-GB"/>
              <a:t>Senacor  |  Deutsche Bank  |  Request for Proposal – Miles &amp; More // Mobile app solution development </a:t>
            </a:r>
          </a:p>
        </p:txBody>
      </p:sp>
      <p:sp>
        <p:nvSpPr>
          <p:cNvPr id="12" name="Titelplatzhalter 1">
            <a:extLst>
              <a:ext uri="{FF2B5EF4-FFF2-40B4-BE49-F238E27FC236}">
                <a16:creationId xmlns:a16="http://schemas.microsoft.com/office/drawing/2014/main" id="{14F2448F-01E3-414B-858D-35126C2EF5C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720000"/>
            <a:ext cx="8141008" cy="609398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rtl="0">
              <a:defRPr sz="2000"/>
            </a:lvl1pPr>
          </a:lstStyle>
          <a:p>
            <a:r>
              <a:rPr lang="en-GB" noProof="0"/>
              <a:t>Mastertitelformat bearbeiten</a:t>
            </a:r>
          </a:p>
        </p:txBody>
      </p:sp>
      <p:cxnSp>
        <p:nvCxnSpPr>
          <p:cNvPr id="3" name="Gerader Verbinder 2">
            <a:extLst>
              <a:ext uri="{FF2B5EF4-FFF2-40B4-BE49-F238E27FC236}">
                <a16:creationId xmlns:a16="http://schemas.microsoft.com/office/drawing/2014/main" id="{57032ECD-86C5-41CC-882B-E85C87BD610C}"/>
              </a:ext>
            </a:extLst>
          </p:cNvPr>
          <p:cNvCxnSpPr>
            <a:cxnSpLocks/>
          </p:cNvCxnSpPr>
          <p:nvPr userDrawn="1"/>
        </p:nvCxnSpPr>
        <p:spPr>
          <a:xfrm>
            <a:off x="462000" y="6419288"/>
            <a:ext cx="8136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rader Verbinder 13">
            <a:extLst>
              <a:ext uri="{FF2B5EF4-FFF2-40B4-BE49-F238E27FC236}">
                <a16:creationId xmlns:a16="http://schemas.microsoft.com/office/drawing/2014/main" id="{6DC14E49-D630-46F0-9D51-524C1D8ACBB1}"/>
              </a:ext>
            </a:extLst>
          </p:cNvPr>
          <p:cNvCxnSpPr>
            <a:cxnSpLocks/>
          </p:cNvCxnSpPr>
          <p:nvPr userDrawn="1"/>
        </p:nvCxnSpPr>
        <p:spPr>
          <a:xfrm>
            <a:off x="462000" y="6062867"/>
            <a:ext cx="8136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r Verbinder 14">
            <a:extLst>
              <a:ext uri="{FF2B5EF4-FFF2-40B4-BE49-F238E27FC236}">
                <a16:creationId xmlns:a16="http://schemas.microsoft.com/office/drawing/2014/main" id="{9592219A-9DE9-4D52-9B48-9620A4DF6056}"/>
              </a:ext>
            </a:extLst>
          </p:cNvPr>
          <p:cNvCxnSpPr>
            <a:cxnSpLocks/>
          </p:cNvCxnSpPr>
          <p:nvPr userDrawn="1"/>
        </p:nvCxnSpPr>
        <p:spPr>
          <a:xfrm>
            <a:off x="479423" y="1759891"/>
            <a:ext cx="8136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6" name="Gruppieren 15">
            <a:extLst>
              <a:ext uri="{FF2B5EF4-FFF2-40B4-BE49-F238E27FC236}">
                <a16:creationId xmlns:a16="http://schemas.microsoft.com/office/drawing/2014/main" id="{7F646600-E35C-4F6D-A13A-217509D6B8F7}"/>
              </a:ext>
            </a:extLst>
          </p:cNvPr>
          <p:cNvGrpSpPr/>
          <p:nvPr userDrawn="1"/>
        </p:nvGrpSpPr>
        <p:grpSpPr>
          <a:xfrm>
            <a:off x="10240056" y="330434"/>
            <a:ext cx="1472671" cy="212964"/>
            <a:chOff x="10240056" y="330434"/>
            <a:chExt cx="1472671" cy="212964"/>
          </a:xfrm>
        </p:grpSpPr>
        <p:sp>
          <p:nvSpPr>
            <p:cNvPr id="17" name="Freihandform: Form 16">
              <a:extLst>
                <a:ext uri="{FF2B5EF4-FFF2-40B4-BE49-F238E27FC236}">
                  <a16:creationId xmlns:a16="http://schemas.microsoft.com/office/drawing/2014/main" id="{0501EED7-7CA7-41EB-A358-DFBA127144AE}"/>
                </a:ext>
              </a:extLst>
            </p:cNvPr>
            <p:cNvSpPr/>
            <p:nvPr/>
          </p:nvSpPr>
          <p:spPr>
            <a:xfrm>
              <a:off x="10602134" y="335724"/>
              <a:ext cx="213948" cy="204724"/>
            </a:xfrm>
            <a:custGeom>
              <a:avLst/>
              <a:gdLst>
                <a:gd name="connsiteX0" fmla="*/ 160491 w 213948"/>
                <a:gd name="connsiteY0" fmla="*/ 14175 h 204724"/>
                <a:gd name="connsiteX1" fmla="*/ 163136 w 213948"/>
                <a:gd name="connsiteY1" fmla="*/ 14327 h 204724"/>
                <a:gd name="connsiteX2" fmla="*/ 176854 w 213948"/>
                <a:gd name="connsiteY2" fmla="*/ 36064 h 204724"/>
                <a:gd name="connsiteX3" fmla="*/ 176854 w 213948"/>
                <a:gd name="connsiteY3" fmla="*/ 144712 h 204724"/>
                <a:gd name="connsiteX4" fmla="*/ 49408 w 213948"/>
                <a:gd name="connsiteY4" fmla="*/ 0 h 204724"/>
                <a:gd name="connsiteX5" fmla="*/ 4834 w 213948"/>
                <a:gd name="connsiteY5" fmla="*/ 0 h 204724"/>
                <a:gd name="connsiteX6" fmla="*/ 4834 w 213948"/>
                <a:gd name="connsiteY6" fmla="*/ 13894 h 204724"/>
                <a:gd name="connsiteX7" fmla="*/ 7292 w 213948"/>
                <a:gd name="connsiteY7" fmla="*/ 14140 h 204724"/>
                <a:gd name="connsiteX8" fmla="*/ 16727 w 213948"/>
                <a:gd name="connsiteY8" fmla="*/ 21163 h 204724"/>
                <a:gd name="connsiteX9" fmla="*/ 16727 w 213948"/>
                <a:gd name="connsiteY9" fmla="*/ 164821 h 204724"/>
                <a:gd name="connsiteX10" fmla="*/ 2681 w 213948"/>
                <a:gd name="connsiteY10" fmla="*/ 188372 h 204724"/>
                <a:gd name="connsiteX11" fmla="*/ 0 w 213948"/>
                <a:gd name="connsiteY11" fmla="*/ 188513 h 204724"/>
                <a:gd name="connsiteX12" fmla="*/ 0 w 213948"/>
                <a:gd name="connsiteY12" fmla="*/ 202559 h 204724"/>
                <a:gd name="connsiteX13" fmla="*/ 54523 w 213948"/>
                <a:gd name="connsiteY13" fmla="*/ 202559 h 204724"/>
                <a:gd name="connsiteX14" fmla="*/ 54523 w 213948"/>
                <a:gd name="connsiteY14" fmla="*/ 188665 h 204724"/>
                <a:gd name="connsiteX15" fmla="*/ 51936 w 213948"/>
                <a:gd name="connsiteY15" fmla="*/ 188466 h 204724"/>
                <a:gd name="connsiteX16" fmla="*/ 38580 w 213948"/>
                <a:gd name="connsiteY16" fmla="*/ 162457 h 204724"/>
                <a:gd name="connsiteX17" fmla="*/ 38580 w 213948"/>
                <a:gd name="connsiteY17" fmla="*/ 46048 h 204724"/>
                <a:gd name="connsiteX18" fmla="*/ 177873 w 213948"/>
                <a:gd name="connsiteY18" fmla="*/ 203776 h 204724"/>
                <a:gd name="connsiteX19" fmla="*/ 178716 w 213948"/>
                <a:gd name="connsiteY19" fmla="*/ 204724 h 204724"/>
                <a:gd name="connsiteX20" fmla="*/ 198708 w 213948"/>
                <a:gd name="connsiteY20" fmla="*/ 204724 h 204724"/>
                <a:gd name="connsiteX21" fmla="*/ 198708 w 213948"/>
                <a:gd name="connsiteY21" fmla="*/ 39271 h 204724"/>
                <a:gd name="connsiteX22" fmla="*/ 211373 w 213948"/>
                <a:gd name="connsiteY22" fmla="*/ 14421 h 204724"/>
                <a:gd name="connsiteX23" fmla="*/ 213948 w 213948"/>
                <a:gd name="connsiteY23" fmla="*/ 14198 h 204724"/>
                <a:gd name="connsiteX24" fmla="*/ 213948 w 213948"/>
                <a:gd name="connsiteY24" fmla="*/ 0 h 204724"/>
                <a:gd name="connsiteX25" fmla="*/ 160491 w 213948"/>
                <a:gd name="connsiteY25" fmla="*/ 0 h 2047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213948" h="204724">
                  <a:moveTo>
                    <a:pt x="160491" y="14175"/>
                  </a:moveTo>
                  <a:lnTo>
                    <a:pt x="163136" y="14327"/>
                  </a:lnTo>
                  <a:cubicBezTo>
                    <a:pt x="176878" y="15111"/>
                    <a:pt x="176878" y="17909"/>
                    <a:pt x="176854" y="36064"/>
                  </a:cubicBezTo>
                  <a:lnTo>
                    <a:pt x="176854" y="144712"/>
                  </a:lnTo>
                  <a:lnTo>
                    <a:pt x="49408" y="0"/>
                  </a:lnTo>
                  <a:lnTo>
                    <a:pt x="4834" y="0"/>
                  </a:lnTo>
                  <a:lnTo>
                    <a:pt x="4834" y="13894"/>
                  </a:lnTo>
                  <a:lnTo>
                    <a:pt x="7292" y="14140"/>
                  </a:lnTo>
                  <a:cubicBezTo>
                    <a:pt x="14655" y="14643"/>
                    <a:pt x="16586" y="17101"/>
                    <a:pt x="16727" y="21163"/>
                  </a:cubicBezTo>
                  <a:lnTo>
                    <a:pt x="16727" y="164821"/>
                  </a:lnTo>
                  <a:cubicBezTo>
                    <a:pt x="16727" y="182882"/>
                    <a:pt x="16727" y="187728"/>
                    <a:pt x="2681" y="188372"/>
                  </a:cubicBezTo>
                  <a:lnTo>
                    <a:pt x="0" y="188513"/>
                  </a:lnTo>
                  <a:lnTo>
                    <a:pt x="0" y="202559"/>
                  </a:lnTo>
                  <a:lnTo>
                    <a:pt x="54523" y="202559"/>
                  </a:lnTo>
                  <a:lnTo>
                    <a:pt x="54523" y="188665"/>
                  </a:lnTo>
                  <a:lnTo>
                    <a:pt x="51936" y="188466"/>
                  </a:lnTo>
                  <a:cubicBezTo>
                    <a:pt x="38557" y="187424"/>
                    <a:pt x="38569" y="182145"/>
                    <a:pt x="38580" y="162457"/>
                  </a:cubicBezTo>
                  <a:lnTo>
                    <a:pt x="38580" y="46048"/>
                  </a:lnTo>
                  <a:lnTo>
                    <a:pt x="177873" y="203776"/>
                  </a:lnTo>
                  <a:lnTo>
                    <a:pt x="178716" y="204724"/>
                  </a:lnTo>
                  <a:lnTo>
                    <a:pt x="198708" y="204724"/>
                  </a:lnTo>
                  <a:lnTo>
                    <a:pt x="198708" y="39271"/>
                  </a:lnTo>
                  <a:cubicBezTo>
                    <a:pt x="198708" y="19080"/>
                    <a:pt x="199797" y="15521"/>
                    <a:pt x="211373" y="14421"/>
                  </a:cubicBezTo>
                  <a:lnTo>
                    <a:pt x="213948" y="14198"/>
                  </a:lnTo>
                  <a:lnTo>
                    <a:pt x="213948" y="0"/>
                  </a:lnTo>
                  <a:lnTo>
                    <a:pt x="160491" y="0"/>
                  </a:lnTo>
                  <a:close/>
                </a:path>
              </a:pathLst>
            </a:custGeom>
            <a:solidFill>
              <a:srgbClr val="000000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18" name="Freihandform: Form 17">
              <a:extLst>
                <a:ext uri="{FF2B5EF4-FFF2-40B4-BE49-F238E27FC236}">
                  <a16:creationId xmlns:a16="http://schemas.microsoft.com/office/drawing/2014/main" id="{2FF1F3C6-7EB2-413F-A0DB-30DBFF7638C8}"/>
                </a:ext>
              </a:extLst>
            </p:cNvPr>
            <p:cNvSpPr/>
            <p:nvPr/>
          </p:nvSpPr>
          <p:spPr>
            <a:xfrm>
              <a:off x="10240056" y="330434"/>
              <a:ext cx="150166" cy="212964"/>
            </a:xfrm>
            <a:custGeom>
              <a:avLst/>
              <a:gdLst>
                <a:gd name="connsiteX0" fmla="*/ 87918 w 150166"/>
                <a:gd name="connsiteY0" fmla="*/ 86267 h 212964"/>
                <a:gd name="connsiteX1" fmla="*/ 87918 w 150166"/>
                <a:gd name="connsiteY1" fmla="*/ 86267 h 212964"/>
                <a:gd name="connsiteX2" fmla="*/ 43309 w 150166"/>
                <a:gd name="connsiteY2" fmla="*/ 46282 h 212964"/>
                <a:gd name="connsiteX3" fmla="*/ 73427 w 150166"/>
                <a:gd name="connsiteY3" fmla="*/ 17078 h 212964"/>
                <a:gd name="connsiteX4" fmla="*/ 120248 w 150166"/>
                <a:gd name="connsiteY4" fmla="*/ 39739 h 212964"/>
                <a:gd name="connsiteX5" fmla="*/ 121032 w 150166"/>
                <a:gd name="connsiteY5" fmla="*/ 41331 h 212964"/>
                <a:gd name="connsiteX6" fmla="*/ 136109 w 150166"/>
                <a:gd name="connsiteY6" fmla="*/ 41167 h 212964"/>
                <a:gd name="connsiteX7" fmla="*/ 129589 w 150166"/>
                <a:gd name="connsiteY7" fmla="*/ 3078 h 212964"/>
                <a:gd name="connsiteX8" fmla="*/ 120026 w 150166"/>
                <a:gd name="connsiteY8" fmla="*/ 3078 h 212964"/>
                <a:gd name="connsiteX9" fmla="*/ 118551 w 150166"/>
                <a:gd name="connsiteY9" fmla="*/ 3746 h 212964"/>
                <a:gd name="connsiteX10" fmla="*/ 110977 w 150166"/>
                <a:gd name="connsiteY10" fmla="*/ 5384 h 212964"/>
                <a:gd name="connsiteX11" fmla="*/ 101438 w 150166"/>
                <a:gd name="connsiteY11" fmla="*/ 3804 h 212964"/>
                <a:gd name="connsiteX12" fmla="*/ 95807 w 150166"/>
                <a:gd name="connsiteY12" fmla="*/ 2634 h 212964"/>
                <a:gd name="connsiteX13" fmla="*/ 69412 w 150166"/>
                <a:gd name="connsiteY13" fmla="*/ 0 h 212964"/>
                <a:gd name="connsiteX14" fmla="*/ 5103 w 150166"/>
                <a:gd name="connsiteY14" fmla="*/ 55096 h 212964"/>
                <a:gd name="connsiteX15" fmla="*/ 63817 w 150166"/>
                <a:gd name="connsiteY15" fmla="*/ 117415 h 212964"/>
                <a:gd name="connsiteX16" fmla="*/ 110966 w 150166"/>
                <a:gd name="connsiteY16" fmla="*/ 162094 h 212964"/>
                <a:gd name="connsiteX17" fmla="*/ 72093 w 150166"/>
                <a:gd name="connsiteY17" fmla="*/ 193944 h 212964"/>
                <a:gd name="connsiteX18" fmla="*/ 15030 w 150166"/>
                <a:gd name="connsiteY18" fmla="*/ 167174 h 212964"/>
                <a:gd name="connsiteX19" fmla="*/ 14327 w 150166"/>
                <a:gd name="connsiteY19" fmla="*/ 165418 h 212964"/>
                <a:gd name="connsiteX20" fmla="*/ 0 w 150166"/>
                <a:gd name="connsiteY20" fmla="*/ 165418 h 212964"/>
                <a:gd name="connsiteX21" fmla="*/ 6368 w 150166"/>
                <a:gd name="connsiteY21" fmla="*/ 208283 h 212964"/>
                <a:gd name="connsiteX22" fmla="*/ 17932 w 150166"/>
                <a:gd name="connsiteY22" fmla="*/ 208283 h 212964"/>
                <a:gd name="connsiteX23" fmla="*/ 18740 w 150166"/>
                <a:gd name="connsiteY23" fmla="*/ 207510 h 212964"/>
                <a:gd name="connsiteX24" fmla="*/ 25997 w 150166"/>
                <a:gd name="connsiteY24" fmla="*/ 205895 h 212964"/>
                <a:gd name="connsiteX25" fmla="*/ 38393 w 150166"/>
                <a:gd name="connsiteY25" fmla="*/ 208107 h 212964"/>
                <a:gd name="connsiteX26" fmla="*/ 74445 w 150166"/>
                <a:gd name="connsiteY26" fmla="*/ 212965 h 212964"/>
                <a:gd name="connsiteX27" fmla="*/ 150167 w 150166"/>
                <a:gd name="connsiteY27" fmla="*/ 152648 h 212964"/>
                <a:gd name="connsiteX28" fmla="*/ 87930 w 150166"/>
                <a:gd name="connsiteY28" fmla="*/ 86267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150166" h="212964">
                  <a:moveTo>
                    <a:pt x="87918" y="86267"/>
                  </a:moveTo>
                  <a:lnTo>
                    <a:pt x="87918" y="86267"/>
                  </a:lnTo>
                  <a:cubicBezTo>
                    <a:pt x="64976" y="74750"/>
                    <a:pt x="43309" y="63864"/>
                    <a:pt x="43309" y="46282"/>
                  </a:cubicBezTo>
                  <a:cubicBezTo>
                    <a:pt x="43309" y="34507"/>
                    <a:pt x="52884" y="17078"/>
                    <a:pt x="73427" y="17078"/>
                  </a:cubicBezTo>
                  <a:cubicBezTo>
                    <a:pt x="97142" y="17078"/>
                    <a:pt x="111305" y="23574"/>
                    <a:pt x="120248" y="39739"/>
                  </a:cubicBezTo>
                  <a:lnTo>
                    <a:pt x="121032" y="41331"/>
                  </a:lnTo>
                  <a:lnTo>
                    <a:pt x="136109" y="41167"/>
                  </a:lnTo>
                  <a:lnTo>
                    <a:pt x="129589" y="3078"/>
                  </a:lnTo>
                  <a:lnTo>
                    <a:pt x="120026" y="3078"/>
                  </a:lnTo>
                  <a:lnTo>
                    <a:pt x="118551" y="3746"/>
                  </a:lnTo>
                  <a:cubicBezTo>
                    <a:pt x="116205" y="4922"/>
                    <a:pt x="113600" y="5486"/>
                    <a:pt x="110977" y="5384"/>
                  </a:cubicBezTo>
                  <a:cubicBezTo>
                    <a:pt x="106998" y="5232"/>
                    <a:pt x="105242" y="4577"/>
                    <a:pt x="101438" y="3804"/>
                  </a:cubicBezTo>
                  <a:cubicBezTo>
                    <a:pt x="99822" y="3465"/>
                    <a:pt x="98031" y="3008"/>
                    <a:pt x="95807" y="2634"/>
                  </a:cubicBezTo>
                  <a:cubicBezTo>
                    <a:pt x="87117" y="890"/>
                    <a:pt x="78276" y="8"/>
                    <a:pt x="69412" y="0"/>
                  </a:cubicBezTo>
                  <a:cubicBezTo>
                    <a:pt x="33945" y="0"/>
                    <a:pt x="5103" y="24710"/>
                    <a:pt x="5103" y="55096"/>
                  </a:cubicBezTo>
                  <a:cubicBezTo>
                    <a:pt x="5103" y="85846"/>
                    <a:pt x="34952" y="101917"/>
                    <a:pt x="63817" y="117415"/>
                  </a:cubicBezTo>
                  <a:cubicBezTo>
                    <a:pt x="88059" y="130455"/>
                    <a:pt x="110966" y="142804"/>
                    <a:pt x="110966" y="162094"/>
                  </a:cubicBezTo>
                  <a:cubicBezTo>
                    <a:pt x="110966" y="180249"/>
                    <a:pt x="94251" y="193944"/>
                    <a:pt x="72093" y="193944"/>
                  </a:cubicBezTo>
                  <a:cubicBezTo>
                    <a:pt x="41799" y="193944"/>
                    <a:pt x="23130" y="185177"/>
                    <a:pt x="15030" y="167174"/>
                  </a:cubicBezTo>
                  <a:lnTo>
                    <a:pt x="14327" y="165418"/>
                  </a:lnTo>
                  <a:lnTo>
                    <a:pt x="0" y="165418"/>
                  </a:lnTo>
                  <a:lnTo>
                    <a:pt x="6368" y="208283"/>
                  </a:lnTo>
                  <a:lnTo>
                    <a:pt x="17932" y="208283"/>
                  </a:lnTo>
                  <a:lnTo>
                    <a:pt x="18740" y="207510"/>
                  </a:lnTo>
                  <a:cubicBezTo>
                    <a:pt x="20461" y="205965"/>
                    <a:pt x="22603" y="205860"/>
                    <a:pt x="25997" y="205895"/>
                  </a:cubicBezTo>
                  <a:cubicBezTo>
                    <a:pt x="29392" y="205930"/>
                    <a:pt x="33313" y="206878"/>
                    <a:pt x="38393" y="208107"/>
                  </a:cubicBezTo>
                  <a:cubicBezTo>
                    <a:pt x="50154" y="211257"/>
                    <a:pt x="62270" y="212889"/>
                    <a:pt x="74445" y="212965"/>
                  </a:cubicBezTo>
                  <a:cubicBezTo>
                    <a:pt x="118328" y="212965"/>
                    <a:pt x="150167" y="187600"/>
                    <a:pt x="150167" y="152648"/>
                  </a:cubicBezTo>
                  <a:cubicBezTo>
                    <a:pt x="150167" y="117696"/>
                    <a:pt x="117052" y="100922"/>
                    <a:pt x="87930" y="86267"/>
                  </a:cubicBezTo>
                </a:path>
              </a:pathLst>
            </a:custGeom>
            <a:solidFill>
              <a:srgbClr val="000000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19" name="Freihandform: Form 18">
              <a:extLst>
                <a:ext uri="{FF2B5EF4-FFF2-40B4-BE49-F238E27FC236}">
                  <a16:creationId xmlns:a16="http://schemas.microsoft.com/office/drawing/2014/main" id="{D1852364-B27C-41D4-9BB9-0C20A2026F52}"/>
                </a:ext>
              </a:extLst>
            </p:cNvPr>
            <p:cNvSpPr/>
            <p:nvPr/>
          </p:nvSpPr>
          <p:spPr>
            <a:xfrm>
              <a:off x="10421346" y="335748"/>
              <a:ext cx="149780" cy="202570"/>
            </a:xfrm>
            <a:custGeom>
              <a:avLst/>
              <a:gdLst>
                <a:gd name="connsiteX0" fmla="*/ 10184 w 149780"/>
                <a:gd name="connsiteY0" fmla="*/ 176725 h 202570"/>
                <a:gd name="connsiteX1" fmla="*/ 2540 w 149780"/>
                <a:gd name="connsiteY1" fmla="*/ 187986 h 202570"/>
                <a:gd name="connsiteX2" fmla="*/ 0 w 149780"/>
                <a:gd name="connsiteY2" fmla="*/ 188232 h 202570"/>
                <a:gd name="connsiteX3" fmla="*/ 0 w 149780"/>
                <a:gd name="connsiteY3" fmla="*/ 202571 h 202570"/>
                <a:gd name="connsiteX4" fmla="*/ 144864 w 149780"/>
                <a:gd name="connsiteY4" fmla="*/ 202571 h 202570"/>
                <a:gd name="connsiteX5" fmla="*/ 149780 w 149780"/>
                <a:gd name="connsiteY5" fmla="*/ 162059 h 202570"/>
                <a:gd name="connsiteX6" fmla="*/ 134563 w 149780"/>
                <a:gd name="connsiteY6" fmla="*/ 162176 h 202570"/>
                <a:gd name="connsiteX7" fmla="*/ 133943 w 149780"/>
                <a:gd name="connsiteY7" fmla="*/ 164107 h 202570"/>
                <a:gd name="connsiteX8" fmla="*/ 101379 w 149780"/>
                <a:gd name="connsiteY8" fmla="*/ 182754 h 202570"/>
                <a:gd name="connsiteX9" fmla="*/ 64192 w 149780"/>
                <a:gd name="connsiteY9" fmla="*/ 182754 h 202570"/>
                <a:gd name="connsiteX10" fmla="*/ 49244 w 149780"/>
                <a:gd name="connsiteY10" fmla="*/ 162749 h 202570"/>
                <a:gd name="connsiteX11" fmla="*/ 49244 w 149780"/>
                <a:gd name="connsiteY11" fmla="*/ 107875 h 202570"/>
                <a:gd name="connsiteX12" fmla="*/ 89042 w 149780"/>
                <a:gd name="connsiteY12" fmla="*/ 107875 h 202570"/>
                <a:gd name="connsiteX13" fmla="*/ 107630 w 149780"/>
                <a:gd name="connsiteY13" fmla="*/ 118878 h 202570"/>
                <a:gd name="connsiteX14" fmla="*/ 108051 w 149780"/>
                <a:gd name="connsiteY14" fmla="*/ 121219 h 202570"/>
                <a:gd name="connsiteX15" fmla="*/ 122542 w 149780"/>
                <a:gd name="connsiteY15" fmla="*/ 121219 h 202570"/>
                <a:gd name="connsiteX16" fmla="*/ 122542 w 149780"/>
                <a:gd name="connsiteY16" fmla="*/ 75569 h 202570"/>
                <a:gd name="connsiteX17" fmla="*/ 108285 w 149780"/>
                <a:gd name="connsiteY17" fmla="*/ 75569 h 202570"/>
                <a:gd name="connsiteX18" fmla="*/ 107934 w 149780"/>
                <a:gd name="connsiteY18" fmla="*/ 77910 h 202570"/>
                <a:gd name="connsiteX19" fmla="*/ 89042 w 149780"/>
                <a:gd name="connsiteY19" fmla="*/ 88105 h 202570"/>
                <a:gd name="connsiteX20" fmla="*/ 49244 w 149780"/>
                <a:gd name="connsiteY20" fmla="*/ 88105 h 202570"/>
                <a:gd name="connsiteX21" fmla="*/ 49244 w 149780"/>
                <a:gd name="connsiteY21" fmla="*/ 19829 h 202570"/>
                <a:gd name="connsiteX22" fmla="*/ 102550 w 149780"/>
                <a:gd name="connsiteY22" fmla="*/ 19829 h 202570"/>
                <a:gd name="connsiteX23" fmla="*/ 124310 w 149780"/>
                <a:gd name="connsiteY23" fmla="*/ 34226 h 202570"/>
                <a:gd name="connsiteX24" fmla="*/ 124883 w 149780"/>
                <a:gd name="connsiteY24" fmla="*/ 36286 h 202570"/>
                <a:gd name="connsiteX25" fmla="*/ 140100 w 149780"/>
                <a:gd name="connsiteY25" fmla="*/ 36286 h 202570"/>
                <a:gd name="connsiteX26" fmla="*/ 137595 w 149780"/>
                <a:gd name="connsiteY26" fmla="*/ 0 h 202570"/>
                <a:gd name="connsiteX27" fmla="*/ 222 w 149780"/>
                <a:gd name="connsiteY27" fmla="*/ 0 h 202570"/>
                <a:gd name="connsiteX28" fmla="*/ 222 w 149780"/>
                <a:gd name="connsiteY28" fmla="*/ 14198 h 202570"/>
                <a:gd name="connsiteX29" fmla="*/ 2798 w 149780"/>
                <a:gd name="connsiteY29" fmla="*/ 14374 h 202570"/>
                <a:gd name="connsiteX30" fmla="*/ 10207 w 149780"/>
                <a:gd name="connsiteY30" fmla="*/ 32412 h 2025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149780" h="202570">
                  <a:moveTo>
                    <a:pt x="10184" y="176725"/>
                  </a:moveTo>
                  <a:cubicBezTo>
                    <a:pt x="9973" y="184626"/>
                    <a:pt x="9774" y="187260"/>
                    <a:pt x="2540" y="187986"/>
                  </a:cubicBezTo>
                  <a:lnTo>
                    <a:pt x="0" y="188232"/>
                  </a:lnTo>
                  <a:lnTo>
                    <a:pt x="0" y="202571"/>
                  </a:lnTo>
                  <a:lnTo>
                    <a:pt x="144864" y="202571"/>
                  </a:lnTo>
                  <a:lnTo>
                    <a:pt x="149780" y="162059"/>
                  </a:lnTo>
                  <a:lnTo>
                    <a:pt x="134563" y="162176"/>
                  </a:lnTo>
                  <a:lnTo>
                    <a:pt x="133943" y="164107"/>
                  </a:lnTo>
                  <a:cubicBezTo>
                    <a:pt x="127927" y="182964"/>
                    <a:pt x="121734" y="182906"/>
                    <a:pt x="101379" y="182754"/>
                  </a:cubicBezTo>
                  <a:lnTo>
                    <a:pt x="64192" y="182754"/>
                  </a:lnTo>
                  <a:cubicBezTo>
                    <a:pt x="49654" y="182754"/>
                    <a:pt x="49244" y="179909"/>
                    <a:pt x="49244" y="162749"/>
                  </a:cubicBezTo>
                  <a:lnTo>
                    <a:pt x="49244" y="107875"/>
                  </a:lnTo>
                  <a:lnTo>
                    <a:pt x="89042" y="107875"/>
                  </a:lnTo>
                  <a:cubicBezTo>
                    <a:pt x="102292" y="107875"/>
                    <a:pt x="105066" y="108168"/>
                    <a:pt x="107630" y="118878"/>
                  </a:cubicBezTo>
                  <a:lnTo>
                    <a:pt x="108051" y="121219"/>
                  </a:lnTo>
                  <a:lnTo>
                    <a:pt x="122542" y="121219"/>
                  </a:lnTo>
                  <a:lnTo>
                    <a:pt x="122542" y="75569"/>
                  </a:lnTo>
                  <a:lnTo>
                    <a:pt x="108285" y="75569"/>
                  </a:lnTo>
                  <a:lnTo>
                    <a:pt x="107934" y="77910"/>
                  </a:lnTo>
                  <a:cubicBezTo>
                    <a:pt x="106248" y="87368"/>
                    <a:pt x="103158" y="88105"/>
                    <a:pt x="89042" y="88105"/>
                  </a:cubicBezTo>
                  <a:lnTo>
                    <a:pt x="49244" y="88105"/>
                  </a:lnTo>
                  <a:lnTo>
                    <a:pt x="49244" y="19829"/>
                  </a:lnTo>
                  <a:lnTo>
                    <a:pt x="102550" y="19829"/>
                  </a:lnTo>
                  <a:cubicBezTo>
                    <a:pt x="116233" y="19829"/>
                    <a:pt x="120716" y="19829"/>
                    <a:pt x="124310" y="34226"/>
                  </a:cubicBezTo>
                  <a:lnTo>
                    <a:pt x="124883" y="36286"/>
                  </a:lnTo>
                  <a:lnTo>
                    <a:pt x="140100" y="36286"/>
                  </a:lnTo>
                  <a:lnTo>
                    <a:pt x="137595" y="0"/>
                  </a:lnTo>
                  <a:lnTo>
                    <a:pt x="222" y="0"/>
                  </a:lnTo>
                  <a:lnTo>
                    <a:pt x="222" y="14198"/>
                  </a:lnTo>
                  <a:lnTo>
                    <a:pt x="2798" y="14374"/>
                  </a:lnTo>
                  <a:cubicBezTo>
                    <a:pt x="10102" y="15252"/>
                    <a:pt x="10113" y="17886"/>
                    <a:pt x="10207" y="32412"/>
                  </a:cubicBezTo>
                  <a:close/>
                </a:path>
              </a:pathLst>
            </a:custGeom>
            <a:solidFill>
              <a:srgbClr val="000000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20" name="Freihandform: Form 19">
              <a:extLst>
                <a:ext uri="{FF2B5EF4-FFF2-40B4-BE49-F238E27FC236}">
                  <a16:creationId xmlns:a16="http://schemas.microsoft.com/office/drawing/2014/main" id="{4B8113F0-97EB-46BB-A7DD-CFAFD24FF7DF}"/>
                </a:ext>
              </a:extLst>
            </p:cNvPr>
            <p:cNvSpPr/>
            <p:nvPr/>
          </p:nvSpPr>
          <p:spPr>
            <a:xfrm>
              <a:off x="11496262" y="332657"/>
              <a:ext cx="216465" cy="208540"/>
            </a:xfrm>
            <a:custGeom>
              <a:avLst/>
              <a:gdLst>
                <a:gd name="connsiteX0" fmla="*/ 145742 w 216465"/>
                <a:gd name="connsiteY0" fmla="*/ 131087 h 208540"/>
                <a:gd name="connsiteX1" fmla="*/ 125609 w 216465"/>
                <a:gd name="connsiteY1" fmla="*/ 111902 h 208540"/>
                <a:gd name="connsiteX2" fmla="*/ 162609 w 216465"/>
                <a:gd name="connsiteY2" fmla="*/ 59556 h 208540"/>
                <a:gd name="connsiteX3" fmla="*/ 74738 w 216465"/>
                <a:gd name="connsiteY3" fmla="*/ 0 h 208540"/>
                <a:gd name="connsiteX4" fmla="*/ 36321 w 216465"/>
                <a:gd name="connsiteY4" fmla="*/ 632 h 208540"/>
                <a:gd name="connsiteX5" fmla="*/ 15147 w 216465"/>
                <a:gd name="connsiteY5" fmla="*/ 1662 h 208540"/>
                <a:gd name="connsiteX6" fmla="*/ 6450 w 216465"/>
                <a:gd name="connsiteY6" fmla="*/ 2247 h 208540"/>
                <a:gd name="connsiteX7" fmla="*/ 6450 w 216465"/>
                <a:gd name="connsiteY7" fmla="*/ 16586 h 208540"/>
                <a:gd name="connsiteX8" fmla="*/ 8978 w 216465"/>
                <a:gd name="connsiteY8" fmla="*/ 16703 h 208540"/>
                <a:gd name="connsiteX9" fmla="*/ 17698 w 216465"/>
                <a:gd name="connsiteY9" fmla="*/ 25061 h 208540"/>
                <a:gd name="connsiteX10" fmla="*/ 17581 w 216465"/>
                <a:gd name="connsiteY10" fmla="*/ 173413 h 208540"/>
                <a:gd name="connsiteX11" fmla="*/ 2669 w 216465"/>
                <a:gd name="connsiteY11" fmla="*/ 191486 h 208540"/>
                <a:gd name="connsiteX12" fmla="*/ 0 w 216465"/>
                <a:gd name="connsiteY12" fmla="*/ 191626 h 208540"/>
                <a:gd name="connsiteX13" fmla="*/ 0 w 216465"/>
                <a:gd name="connsiteY13" fmla="*/ 205672 h 208540"/>
                <a:gd name="connsiteX14" fmla="*/ 76435 w 216465"/>
                <a:gd name="connsiteY14" fmla="*/ 205672 h 208540"/>
                <a:gd name="connsiteX15" fmla="*/ 76435 w 216465"/>
                <a:gd name="connsiteY15" fmla="*/ 191544 h 208540"/>
                <a:gd name="connsiteX16" fmla="*/ 73790 w 216465"/>
                <a:gd name="connsiteY16" fmla="*/ 191544 h 208540"/>
                <a:gd name="connsiteX17" fmla="*/ 58374 w 216465"/>
                <a:gd name="connsiteY17" fmla="*/ 164353 h 208540"/>
                <a:gd name="connsiteX18" fmla="*/ 58374 w 216465"/>
                <a:gd name="connsiteY18" fmla="*/ 124192 h 208540"/>
                <a:gd name="connsiteX19" fmla="*/ 82651 w 216465"/>
                <a:gd name="connsiteY19" fmla="*/ 123982 h 208540"/>
                <a:gd name="connsiteX20" fmla="*/ 115425 w 216465"/>
                <a:gd name="connsiteY20" fmla="*/ 153526 h 208540"/>
                <a:gd name="connsiteX21" fmla="*/ 132035 w 216465"/>
                <a:gd name="connsiteY21" fmla="*/ 170276 h 208540"/>
                <a:gd name="connsiteX22" fmla="*/ 141926 w 216465"/>
                <a:gd name="connsiteY22" fmla="*/ 180612 h 208540"/>
                <a:gd name="connsiteX23" fmla="*/ 148797 w 216465"/>
                <a:gd name="connsiteY23" fmla="*/ 188232 h 208540"/>
                <a:gd name="connsiteX24" fmla="*/ 201798 w 216465"/>
                <a:gd name="connsiteY24" fmla="*/ 208540 h 208540"/>
                <a:gd name="connsiteX25" fmla="*/ 213281 w 216465"/>
                <a:gd name="connsiteY25" fmla="*/ 208376 h 208540"/>
                <a:gd name="connsiteX26" fmla="*/ 216465 w 216465"/>
                <a:gd name="connsiteY26" fmla="*/ 208306 h 208540"/>
                <a:gd name="connsiteX27" fmla="*/ 216465 w 216465"/>
                <a:gd name="connsiteY27" fmla="*/ 194201 h 208540"/>
                <a:gd name="connsiteX28" fmla="*/ 213504 w 216465"/>
                <a:gd name="connsiteY28" fmla="*/ 193932 h 208540"/>
                <a:gd name="connsiteX29" fmla="*/ 213504 w 216465"/>
                <a:gd name="connsiteY29" fmla="*/ 193932 h 208540"/>
                <a:gd name="connsiteX30" fmla="*/ 190316 w 216465"/>
                <a:gd name="connsiteY30" fmla="*/ 177159 h 208540"/>
                <a:gd name="connsiteX31" fmla="*/ 171131 w 216465"/>
                <a:gd name="connsiteY31" fmla="*/ 156967 h 208540"/>
                <a:gd name="connsiteX32" fmla="*/ 119031 w 216465"/>
                <a:gd name="connsiteY32" fmla="*/ 62728 h 208540"/>
                <a:gd name="connsiteX33" fmla="*/ 65713 w 216465"/>
                <a:gd name="connsiteY33" fmla="*/ 110041 h 208540"/>
                <a:gd name="connsiteX34" fmla="*/ 58397 w 216465"/>
                <a:gd name="connsiteY34" fmla="*/ 109725 h 208540"/>
                <a:gd name="connsiteX35" fmla="*/ 58397 w 216465"/>
                <a:gd name="connsiteY35" fmla="*/ 15334 h 208540"/>
                <a:gd name="connsiteX36" fmla="*/ 71542 w 216465"/>
                <a:gd name="connsiteY36" fmla="*/ 15182 h 208540"/>
                <a:gd name="connsiteX37" fmla="*/ 119031 w 216465"/>
                <a:gd name="connsiteY37" fmla="*/ 62728 h 2085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16465" h="208540">
                  <a:moveTo>
                    <a:pt x="145742" y="131087"/>
                  </a:moveTo>
                  <a:cubicBezTo>
                    <a:pt x="143541" y="128874"/>
                    <a:pt x="132632" y="117930"/>
                    <a:pt x="125609" y="111902"/>
                  </a:cubicBezTo>
                  <a:cubicBezTo>
                    <a:pt x="150190" y="100325"/>
                    <a:pt x="162609" y="82721"/>
                    <a:pt x="162609" y="59556"/>
                  </a:cubicBezTo>
                  <a:cubicBezTo>
                    <a:pt x="162609" y="41647"/>
                    <a:pt x="154053" y="0"/>
                    <a:pt x="74738" y="0"/>
                  </a:cubicBezTo>
                  <a:cubicBezTo>
                    <a:pt x="68242" y="0"/>
                    <a:pt x="53037" y="0"/>
                    <a:pt x="36321" y="632"/>
                  </a:cubicBezTo>
                  <a:cubicBezTo>
                    <a:pt x="26243" y="1077"/>
                    <a:pt x="20332" y="1393"/>
                    <a:pt x="15147" y="1662"/>
                  </a:cubicBezTo>
                  <a:lnTo>
                    <a:pt x="6450" y="2247"/>
                  </a:lnTo>
                  <a:lnTo>
                    <a:pt x="6450" y="16586"/>
                  </a:lnTo>
                  <a:lnTo>
                    <a:pt x="8978" y="16703"/>
                  </a:lnTo>
                  <a:cubicBezTo>
                    <a:pt x="15240" y="17160"/>
                    <a:pt x="17616" y="18787"/>
                    <a:pt x="17698" y="25061"/>
                  </a:cubicBezTo>
                  <a:lnTo>
                    <a:pt x="17581" y="173413"/>
                  </a:lnTo>
                  <a:cubicBezTo>
                    <a:pt x="17195" y="185715"/>
                    <a:pt x="16411" y="190842"/>
                    <a:pt x="2669" y="191486"/>
                  </a:cubicBezTo>
                  <a:lnTo>
                    <a:pt x="0" y="191626"/>
                  </a:lnTo>
                  <a:lnTo>
                    <a:pt x="0" y="205672"/>
                  </a:lnTo>
                  <a:lnTo>
                    <a:pt x="76435" y="205672"/>
                  </a:lnTo>
                  <a:lnTo>
                    <a:pt x="76435" y="191544"/>
                  </a:lnTo>
                  <a:lnTo>
                    <a:pt x="73790" y="191544"/>
                  </a:lnTo>
                  <a:cubicBezTo>
                    <a:pt x="58362" y="190783"/>
                    <a:pt x="58374" y="187260"/>
                    <a:pt x="58374" y="164353"/>
                  </a:cubicBezTo>
                  <a:lnTo>
                    <a:pt x="58374" y="124192"/>
                  </a:lnTo>
                  <a:cubicBezTo>
                    <a:pt x="66462" y="124664"/>
                    <a:pt x="74574" y="124593"/>
                    <a:pt x="82651" y="123982"/>
                  </a:cubicBezTo>
                  <a:cubicBezTo>
                    <a:pt x="95000" y="133205"/>
                    <a:pt x="99635" y="137583"/>
                    <a:pt x="115425" y="153526"/>
                  </a:cubicBezTo>
                  <a:lnTo>
                    <a:pt x="132035" y="170276"/>
                  </a:lnTo>
                  <a:cubicBezTo>
                    <a:pt x="135804" y="174092"/>
                    <a:pt x="139058" y="177556"/>
                    <a:pt x="141926" y="180612"/>
                  </a:cubicBezTo>
                  <a:cubicBezTo>
                    <a:pt x="144525" y="183374"/>
                    <a:pt x="146784" y="185949"/>
                    <a:pt x="148797" y="188232"/>
                  </a:cubicBezTo>
                  <a:cubicBezTo>
                    <a:pt x="161087" y="202173"/>
                    <a:pt x="166706" y="208540"/>
                    <a:pt x="201798" y="208540"/>
                  </a:cubicBezTo>
                  <a:cubicBezTo>
                    <a:pt x="205310" y="208540"/>
                    <a:pt x="209044" y="208540"/>
                    <a:pt x="213281" y="208376"/>
                  </a:cubicBezTo>
                  <a:lnTo>
                    <a:pt x="216465" y="208306"/>
                  </a:lnTo>
                  <a:lnTo>
                    <a:pt x="216465" y="194201"/>
                  </a:lnTo>
                  <a:lnTo>
                    <a:pt x="213504" y="193932"/>
                  </a:lnTo>
                  <a:lnTo>
                    <a:pt x="213504" y="193932"/>
                  </a:lnTo>
                  <a:cubicBezTo>
                    <a:pt x="205228" y="193160"/>
                    <a:pt x="200253" y="187810"/>
                    <a:pt x="190316" y="177159"/>
                  </a:cubicBezTo>
                  <a:lnTo>
                    <a:pt x="171131" y="156967"/>
                  </a:lnTo>
                  <a:close/>
                  <a:moveTo>
                    <a:pt x="119031" y="62728"/>
                  </a:moveTo>
                  <a:cubicBezTo>
                    <a:pt x="119031" y="95210"/>
                    <a:pt x="104247" y="108554"/>
                    <a:pt x="65713" y="110041"/>
                  </a:cubicBezTo>
                  <a:cubicBezTo>
                    <a:pt x="64543" y="110041"/>
                    <a:pt x="61195" y="110041"/>
                    <a:pt x="58397" y="109725"/>
                  </a:cubicBezTo>
                  <a:lnTo>
                    <a:pt x="58397" y="15334"/>
                  </a:lnTo>
                  <a:cubicBezTo>
                    <a:pt x="62225" y="15182"/>
                    <a:pt x="68101" y="15182"/>
                    <a:pt x="71542" y="15182"/>
                  </a:cubicBezTo>
                  <a:cubicBezTo>
                    <a:pt x="103193" y="15170"/>
                    <a:pt x="119031" y="31159"/>
                    <a:pt x="119031" y="62728"/>
                  </a:cubicBezTo>
                  <a:close/>
                </a:path>
              </a:pathLst>
            </a:custGeom>
            <a:solidFill>
              <a:srgbClr val="000000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21" name="Freihandform: Form 20">
              <a:extLst>
                <a:ext uri="{FF2B5EF4-FFF2-40B4-BE49-F238E27FC236}">
                  <a16:creationId xmlns:a16="http://schemas.microsoft.com/office/drawing/2014/main" id="{178144B9-2FD6-4518-AC86-5B1AB1077F5A}"/>
                </a:ext>
              </a:extLst>
            </p:cNvPr>
            <p:cNvSpPr/>
            <p:nvPr/>
          </p:nvSpPr>
          <p:spPr>
            <a:xfrm>
              <a:off x="10830304" y="335724"/>
              <a:ext cx="207171" cy="202652"/>
            </a:xfrm>
            <a:custGeom>
              <a:avLst/>
              <a:gdLst>
                <a:gd name="connsiteX0" fmla="*/ 121430 w 207171"/>
                <a:gd name="connsiteY0" fmla="*/ 0 h 202652"/>
                <a:gd name="connsiteX1" fmla="*/ 90762 w 207171"/>
                <a:gd name="connsiteY1" fmla="*/ 0 h 202652"/>
                <a:gd name="connsiteX2" fmla="*/ 24979 w 207171"/>
                <a:gd name="connsiteY2" fmla="*/ 164529 h 202652"/>
                <a:gd name="connsiteX3" fmla="*/ 2610 w 207171"/>
                <a:gd name="connsiteY3" fmla="*/ 188431 h 202652"/>
                <a:gd name="connsiteX4" fmla="*/ 0 w 207171"/>
                <a:gd name="connsiteY4" fmla="*/ 188606 h 202652"/>
                <a:gd name="connsiteX5" fmla="*/ 0 w 207171"/>
                <a:gd name="connsiteY5" fmla="*/ 202652 h 202652"/>
                <a:gd name="connsiteX6" fmla="*/ 56735 w 207171"/>
                <a:gd name="connsiteY6" fmla="*/ 202652 h 202652"/>
                <a:gd name="connsiteX7" fmla="*/ 56735 w 207171"/>
                <a:gd name="connsiteY7" fmla="*/ 188712 h 202652"/>
                <a:gd name="connsiteX8" fmla="*/ 54184 w 207171"/>
                <a:gd name="connsiteY8" fmla="*/ 188489 h 202652"/>
                <a:gd name="connsiteX9" fmla="*/ 41530 w 207171"/>
                <a:gd name="connsiteY9" fmla="*/ 178879 h 202652"/>
                <a:gd name="connsiteX10" fmla="*/ 44562 w 207171"/>
                <a:gd name="connsiteY10" fmla="*/ 167478 h 202652"/>
                <a:gd name="connsiteX11" fmla="*/ 59779 w 207171"/>
                <a:gd name="connsiteY11" fmla="*/ 128196 h 202652"/>
                <a:gd name="connsiteX12" fmla="*/ 129706 w 207171"/>
                <a:gd name="connsiteY12" fmla="*/ 128196 h 202652"/>
                <a:gd name="connsiteX13" fmla="*/ 144923 w 207171"/>
                <a:gd name="connsiteY13" fmla="*/ 167385 h 202652"/>
                <a:gd name="connsiteX14" fmla="*/ 148844 w 207171"/>
                <a:gd name="connsiteY14" fmla="*/ 179734 h 202652"/>
                <a:gd name="connsiteX15" fmla="*/ 148937 w 207171"/>
                <a:gd name="connsiteY15" fmla="*/ 180202 h 202652"/>
                <a:gd name="connsiteX16" fmla="*/ 147896 w 207171"/>
                <a:gd name="connsiteY16" fmla="*/ 184802 h 202652"/>
                <a:gd name="connsiteX17" fmla="*/ 136577 w 207171"/>
                <a:gd name="connsiteY17" fmla="*/ 188243 h 202652"/>
                <a:gd name="connsiteX18" fmla="*/ 134002 w 207171"/>
                <a:gd name="connsiteY18" fmla="*/ 188442 h 202652"/>
                <a:gd name="connsiteX19" fmla="*/ 134002 w 207171"/>
                <a:gd name="connsiteY19" fmla="*/ 202606 h 202652"/>
                <a:gd name="connsiteX20" fmla="*/ 207171 w 207171"/>
                <a:gd name="connsiteY20" fmla="*/ 202606 h 202652"/>
                <a:gd name="connsiteX21" fmla="*/ 207171 w 207171"/>
                <a:gd name="connsiteY21" fmla="*/ 188700 h 202652"/>
                <a:gd name="connsiteX22" fmla="*/ 204502 w 207171"/>
                <a:gd name="connsiteY22" fmla="*/ 188559 h 202652"/>
                <a:gd name="connsiteX23" fmla="*/ 184603 w 207171"/>
                <a:gd name="connsiteY23" fmla="*/ 167759 h 202652"/>
                <a:gd name="connsiteX24" fmla="*/ 121641 w 207171"/>
                <a:gd name="connsiteY24" fmla="*/ 107161 h 202652"/>
                <a:gd name="connsiteX25" fmla="*/ 67797 w 207171"/>
                <a:gd name="connsiteY25" fmla="*/ 107161 h 202652"/>
                <a:gd name="connsiteX26" fmla="*/ 95140 w 207171"/>
                <a:gd name="connsiteY26" fmla="*/ 37012 h 2026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207171" h="202652">
                  <a:moveTo>
                    <a:pt x="121430" y="0"/>
                  </a:moveTo>
                  <a:lnTo>
                    <a:pt x="90762" y="0"/>
                  </a:lnTo>
                  <a:lnTo>
                    <a:pt x="24979" y="164529"/>
                  </a:lnTo>
                  <a:cubicBezTo>
                    <a:pt x="17172" y="183994"/>
                    <a:pt x="15755" y="187506"/>
                    <a:pt x="2610" y="188431"/>
                  </a:cubicBezTo>
                  <a:lnTo>
                    <a:pt x="0" y="188606"/>
                  </a:lnTo>
                  <a:lnTo>
                    <a:pt x="0" y="202652"/>
                  </a:lnTo>
                  <a:lnTo>
                    <a:pt x="56735" y="202652"/>
                  </a:lnTo>
                  <a:lnTo>
                    <a:pt x="56735" y="188712"/>
                  </a:lnTo>
                  <a:lnTo>
                    <a:pt x="54184" y="188489"/>
                  </a:lnTo>
                  <a:cubicBezTo>
                    <a:pt x="43649" y="187319"/>
                    <a:pt x="41202" y="183315"/>
                    <a:pt x="41530" y="178879"/>
                  </a:cubicBezTo>
                  <a:cubicBezTo>
                    <a:pt x="41741" y="176105"/>
                    <a:pt x="42572" y="172839"/>
                    <a:pt x="44562" y="167478"/>
                  </a:cubicBezTo>
                  <a:lnTo>
                    <a:pt x="59779" y="128196"/>
                  </a:lnTo>
                  <a:lnTo>
                    <a:pt x="129706" y="128196"/>
                  </a:lnTo>
                  <a:lnTo>
                    <a:pt x="144923" y="167385"/>
                  </a:lnTo>
                  <a:cubicBezTo>
                    <a:pt x="147369" y="174326"/>
                    <a:pt x="147907" y="175672"/>
                    <a:pt x="148844" y="179734"/>
                  </a:cubicBezTo>
                  <a:lnTo>
                    <a:pt x="148937" y="180202"/>
                  </a:lnTo>
                  <a:cubicBezTo>
                    <a:pt x="149324" y="181814"/>
                    <a:pt x="148939" y="183513"/>
                    <a:pt x="147896" y="184802"/>
                  </a:cubicBezTo>
                  <a:cubicBezTo>
                    <a:pt x="146421" y="186651"/>
                    <a:pt x="142780" y="187763"/>
                    <a:pt x="136577" y="188243"/>
                  </a:cubicBezTo>
                  <a:lnTo>
                    <a:pt x="134002" y="188442"/>
                  </a:lnTo>
                  <a:lnTo>
                    <a:pt x="134002" y="202606"/>
                  </a:lnTo>
                  <a:lnTo>
                    <a:pt x="207171" y="202606"/>
                  </a:lnTo>
                  <a:lnTo>
                    <a:pt x="207171" y="188700"/>
                  </a:lnTo>
                  <a:lnTo>
                    <a:pt x="204502" y="188559"/>
                  </a:lnTo>
                  <a:cubicBezTo>
                    <a:pt x="191989" y="187986"/>
                    <a:pt x="190854" y="184896"/>
                    <a:pt x="184603" y="167759"/>
                  </a:cubicBezTo>
                  <a:close/>
                  <a:moveTo>
                    <a:pt x="121641" y="107161"/>
                  </a:moveTo>
                  <a:lnTo>
                    <a:pt x="67797" y="107161"/>
                  </a:lnTo>
                  <a:lnTo>
                    <a:pt x="95140" y="37012"/>
                  </a:lnTo>
                  <a:close/>
                </a:path>
              </a:pathLst>
            </a:custGeom>
            <a:solidFill>
              <a:srgbClr val="000000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22" name="Freihandform: Form 21">
              <a:extLst>
                <a:ext uri="{FF2B5EF4-FFF2-40B4-BE49-F238E27FC236}">
                  <a16:creationId xmlns:a16="http://schemas.microsoft.com/office/drawing/2014/main" id="{B721F457-0511-4347-8216-E79FBCCE4593}"/>
                </a:ext>
              </a:extLst>
            </p:cNvPr>
            <p:cNvSpPr/>
            <p:nvPr/>
          </p:nvSpPr>
          <p:spPr>
            <a:xfrm>
              <a:off x="11256925" y="330434"/>
              <a:ext cx="218794" cy="212964"/>
            </a:xfrm>
            <a:custGeom>
              <a:avLst/>
              <a:gdLst>
                <a:gd name="connsiteX0" fmla="*/ 109397 w 218794"/>
                <a:gd name="connsiteY0" fmla="*/ 0 h 212964"/>
                <a:gd name="connsiteX1" fmla="*/ 0 w 218794"/>
                <a:gd name="connsiteY1" fmla="*/ 111878 h 212964"/>
                <a:gd name="connsiteX2" fmla="*/ 108227 w 218794"/>
                <a:gd name="connsiteY2" fmla="*/ 212965 h 212964"/>
                <a:gd name="connsiteX3" fmla="*/ 218794 w 218794"/>
                <a:gd name="connsiteY3" fmla="*/ 102994 h 212964"/>
                <a:gd name="connsiteX4" fmla="*/ 109397 w 218794"/>
                <a:gd name="connsiteY4" fmla="*/ 0 h 212964"/>
                <a:gd name="connsiteX5" fmla="*/ 177861 w 218794"/>
                <a:gd name="connsiteY5" fmla="*/ 110919 h 212964"/>
                <a:gd name="connsiteX6" fmla="*/ 112897 w 218794"/>
                <a:gd name="connsiteY6" fmla="*/ 197210 h 212964"/>
                <a:gd name="connsiteX7" fmla="*/ 40945 w 218794"/>
                <a:gd name="connsiteY7" fmla="*/ 103310 h 212964"/>
                <a:gd name="connsiteX8" fmla="*/ 107056 w 218794"/>
                <a:gd name="connsiteY8" fmla="*/ 15744 h 212964"/>
                <a:gd name="connsiteX9" fmla="*/ 177861 w 218794"/>
                <a:gd name="connsiteY9" fmla="*/ 110919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18794" h="212964">
                  <a:moveTo>
                    <a:pt x="109397" y="0"/>
                  </a:moveTo>
                  <a:cubicBezTo>
                    <a:pt x="45966" y="0"/>
                    <a:pt x="0" y="47043"/>
                    <a:pt x="0" y="111878"/>
                  </a:cubicBezTo>
                  <a:cubicBezTo>
                    <a:pt x="0" y="170405"/>
                    <a:pt x="45522" y="212965"/>
                    <a:pt x="108227" y="212965"/>
                  </a:cubicBezTo>
                  <a:cubicBezTo>
                    <a:pt x="171259" y="212965"/>
                    <a:pt x="218794" y="165687"/>
                    <a:pt x="218794" y="102994"/>
                  </a:cubicBezTo>
                  <a:cubicBezTo>
                    <a:pt x="218794" y="42349"/>
                    <a:pt x="173811" y="0"/>
                    <a:pt x="109397" y="0"/>
                  </a:cubicBezTo>
                  <a:close/>
                  <a:moveTo>
                    <a:pt x="177861" y="110919"/>
                  </a:moveTo>
                  <a:cubicBezTo>
                    <a:pt x="177861" y="162539"/>
                    <a:pt x="151758" y="197210"/>
                    <a:pt x="112897" y="197210"/>
                  </a:cubicBezTo>
                  <a:cubicBezTo>
                    <a:pt x="77138" y="197210"/>
                    <a:pt x="40945" y="164950"/>
                    <a:pt x="40945" y="103310"/>
                  </a:cubicBezTo>
                  <a:cubicBezTo>
                    <a:pt x="40945" y="49302"/>
                    <a:pt x="66275" y="15744"/>
                    <a:pt x="107056" y="15744"/>
                  </a:cubicBezTo>
                  <a:cubicBezTo>
                    <a:pt x="148738" y="15744"/>
                    <a:pt x="177861" y="54886"/>
                    <a:pt x="177861" y="110919"/>
                  </a:cubicBezTo>
                  <a:close/>
                </a:path>
              </a:pathLst>
            </a:custGeom>
            <a:solidFill>
              <a:srgbClr val="000000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23" name="Freihandform: Form 22">
              <a:extLst>
                <a:ext uri="{FF2B5EF4-FFF2-40B4-BE49-F238E27FC236}">
                  <a16:creationId xmlns:a16="http://schemas.microsoft.com/office/drawing/2014/main" id="{C2D950D4-FA38-4157-9338-BF72C038BB7E}"/>
                </a:ext>
              </a:extLst>
            </p:cNvPr>
            <p:cNvSpPr/>
            <p:nvPr/>
          </p:nvSpPr>
          <p:spPr>
            <a:xfrm>
              <a:off x="11045727" y="330434"/>
              <a:ext cx="196811" cy="212964"/>
            </a:xfrm>
            <a:custGeom>
              <a:avLst/>
              <a:gdLst>
                <a:gd name="connsiteX0" fmla="*/ 196812 w 196811"/>
                <a:gd name="connsiteY0" fmla="*/ 165348 h 212964"/>
                <a:gd name="connsiteX1" fmla="*/ 180635 w 196811"/>
                <a:gd name="connsiteY1" fmla="*/ 165547 h 212964"/>
                <a:gd name="connsiteX2" fmla="*/ 179828 w 196811"/>
                <a:gd name="connsiteY2" fmla="*/ 166659 h 212964"/>
                <a:gd name="connsiteX3" fmla="*/ 118960 w 196811"/>
                <a:gd name="connsiteY3" fmla="*/ 195922 h 212964"/>
                <a:gd name="connsiteX4" fmla="*/ 70255 w 196811"/>
                <a:gd name="connsiteY4" fmla="*/ 176585 h 212964"/>
                <a:gd name="connsiteX5" fmla="*/ 41729 w 196811"/>
                <a:gd name="connsiteY5" fmla="*/ 102023 h 212964"/>
                <a:gd name="connsiteX6" fmla="*/ 113623 w 196811"/>
                <a:gd name="connsiteY6" fmla="*/ 15720 h 212964"/>
                <a:gd name="connsiteX7" fmla="*/ 179359 w 196811"/>
                <a:gd name="connsiteY7" fmla="*/ 50391 h 212964"/>
                <a:gd name="connsiteX8" fmla="*/ 180155 w 196811"/>
                <a:gd name="connsiteY8" fmla="*/ 51959 h 212964"/>
                <a:gd name="connsiteX9" fmla="*/ 193558 w 196811"/>
                <a:gd name="connsiteY9" fmla="*/ 51749 h 212964"/>
                <a:gd name="connsiteX10" fmla="*/ 192259 w 196811"/>
                <a:gd name="connsiteY10" fmla="*/ 9142 h 212964"/>
                <a:gd name="connsiteX11" fmla="*/ 181267 w 196811"/>
                <a:gd name="connsiteY11" fmla="*/ 9142 h 212964"/>
                <a:gd name="connsiteX12" fmla="*/ 180694 w 196811"/>
                <a:gd name="connsiteY12" fmla="*/ 9528 h 212964"/>
                <a:gd name="connsiteX13" fmla="*/ 176515 w 196811"/>
                <a:gd name="connsiteY13" fmla="*/ 10453 h 212964"/>
                <a:gd name="connsiteX14" fmla="*/ 163768 w 196811"/>
                <a:gd name="connsiteY14" fmla="*/ 7761 h 212964"/>
                <a:gd name="connsiteX15" fmla="*/ 112441 w 196811"/>
                <a:gd name="connsiteY15" fmla="*/ 0 h 212964"/>
                <a:gd name="connsiteX16" fmla="*/ 0 w 196811"/>
                <a:gd name="connsiteY16" fmla="*/ 110275 h 212964"/>
                <a:gd name="connsiteX17" fmla="*/ 110029 w 196811"/>
                <a:gd name="connsiteY17" fmla="*/ 212965 h 212964"/>
                <a:gd name="connsiteX18" fmla="*/ 149382 w 196811"/>
                <a:gd name="connsiteY18" fmla="*/ 208411 h 212964"/>
                <a:gd name="connsiteX19" fmla="*/ 169808 w 196811"/>
                <a:gd name="connsiteY19" fmla="*/ 205661 h 212964"/>
                <a:gd name="connsiteX20" fmla="*/ 172804 w 196811"/>
                <a:gd name="connsiteY20" fmla="*/ 205567 h 212964"/>
                <a:gd name="connsiteX21" fmla="*/ 179406 w 196811"/>
                <a:gd name="connsiteY21" fmla="*/ 205719 h 212964"/>
                <a:gd name="connsiteX22" fmla="*/ 182414 w 196811"/>
                <a:gd name="connsiteY22" fmla="*/ 206012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96811" h="212964">
                  <a:moveTo>
                    <a:pt x="196812" y="165348"/>
                  </a:moveTo>
                  <a:lnTo>
                    <a:pt x="180635" y="165547"/>
                  </a:lnTo>
                  <a:lnTo>
                    <a:pt x="179828" y="166659"/>
                  </a:lnTo>
                  <a:cubicBezTo>
                    <a:pt x="163440" y="186839"/>
                    <a:pt x="146315" y="195044"/>
                    <a:pt x="118960" y="195922"/>
                  </a:cubicBezTo>
                  <a:cubicBezTo>
                    <a:pt x="100712" y="196577"/>
                    <a:pt x="83927" y="189824"/>
                    <a:pt x="70255" y="176585"/>
                  </a:cubicBezTo>
                  <a:cubicBezTo>
                    <a:pt x="52123" y="159027"/>
                    <a:pt x="41729" y="131859"/>
                    <a:pt x="41729" y="102023"/>
                  </a:cubicBezTo>
                  <a:cubicBezTo>
                    <a:pt x="41729" y="50403"/>
                    <a:pt x="70618" y="15720"/>
                    <a:pt x="113623" y="15720"/>
                  </a:cubicBezTo>
                  <a:cubicBezTo>
                    <a:pt x="143799" y="15720"/>
                    <a:pt x="168989" y="28994"/>
                    <a:pt x="179359" y="50391"/>
                  </a:cubicBezTo>
                  <a:lnTo>
                    <a:pt x="180155" y="51959"/>
                  </a:lnTo>
                  <a:lnTo>
                    <a:pt x="193558" y="51749"/>
                  </a:lnTo>
                  <a:lnTo>
                    <a:pt x="192259" y="9142"/>
                  </a:lnTo>
                  <a:lnTo>
                    <a:pt x="181267" y="9142"/>
                  </a:lnTo>
                  <a:lnTo>
                    <a:pt x="180694" y="9528"/>
                  </a:lnTo>
                  <a:cubicBezTo>
                    <a:pt x="179431" y="10264"/>
                    <a:pt x="177970" y="10587"/>
                    <a:pt x="176515" y="10453"/>
                  </a:cubicBezTo>
                  <a:cubicBezTo>
                    <a:pt x="173928" y="10359"/>
                    <a:pt x="169492" y="9282"/>
                    <a:pt x="163768" y="7761"/>
                  </a:cubicBezTo>
                  <a:cubicBezTo>
                    <a:pt x="152039" y="4682"/>
                    <a:pt x="134259" y="0"/>
                    <a:pt x="112441" y="0"/>
                  </a:cubicBezTo>
                  <a:cubicBezTo>
                    <a:pt x="34765" y="0"/>
                    <a:pt x="0" y="55377"/>
                    <a:pt x="0" y="110275"/>
                  </a:cubicBezTo>
                  <a:cubicBezTo>
                    <a:pt x="0" y="172652"/>
                    <a:pt x="43192" y="212965"/>
                    <a:pt x="110029" y="212965"/>
                  </a:cubicBezTo>
                  <a:cubicBezTo>
                    <a:pt x="124965" y="212965"/>
                    <a:pt x="138461" y="210448"/>
                    <a:pt x="149382" y="208411"/>
                  </a:cubicBezTo>
                  <a:cubicBezTo>
                    <a:pt x="156745" y="207030"/>
                    <a:pt x="163838" y="205789"/>
                    <a:pt x="169808" y="205661"/>
                  </a:cubicBezTo>
                  <a:cubicBezTo>
                    <a:pt x="171119" y="205661"/>
                    <a:pt x="172032" y="205661"/>
                    <a:pt x="172804" y="205567"/>
                  </a:cubicBezTo>
                  <a:cubicBezTo>
                    <a:pt x="175006" y="205507"/>
                    <a:pt x="177209" y="205558"/>
                    <a:pt x="179406" y="205719"/>
                  </a:cubicBezTo>
                  <a:lnTo>
                    <a:pt x="182414" y="206012"/>
                  </a:lnTo>
                  <a:close/>
                </a:path>
              </a:pathLst>
            </a:custGeom>
            <a:solidFill>
              <a:srgbClr val="000000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</p:grpSp>
      <p:sp>
        <p:nvSpPr>
          <p:cNvPr id="7" name="Datumsplatzhalter 3">
            <a:extLst>
              <a:ext uri="{FF2B5EF4-FFF2-40B4-BE49-F238E27FC236}">
                <a16:creationId xmlns:a16="http://schemas.microsoft.com/office/drawing/2014/main" id="{92D8BF00-8343-F8A9-076D-44B29B766B4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182100" y="6633547"/>
            <a:ext cx="125012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 rtl="0">
              <a:defRPr sz="800">
                <a:solidFill>
                  <a:schemeClr val="tx2"/>
                </a:solidFill>
              </a:defRPr>
            </a:lvl1pPr>
          </a:lstStyle>
          <a:p>
            <a:r>
              <a:rPr lang="de-DE"/>
              <a:t>August 2023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7305460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>
            <a:extLst>
              <a:ext uri="{FF2B5EF4-FFF2-40B4-BE49-F238E27FC236}">
                <a16:creationId xmlns:a16="http://schemas.microsoft.com/office/drawing/2014/main" id="{BF5B2E27-0C9F-4352-BB5F-50F1F9BD9ED5}"/>
              </a:ext>
            </a:extLst>
          </p:cNvPr>
          <p:cNvSpPr/>
          <p:nvPr userDrawn="1"/>
        </p:nvSpPr>
        <p:spPr>
          <a:xfrm>
            <a:off x="8620433" y="0"/>
            <a:ext cx="3571568" cy="6858000"/>
          </a:xfrm>
          <a:prstGeom prst="rect">
            <a:avLst/>
          </a:prstGeom>
          <a:solidFill>
            <a:schemeClr val="accent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rtl="0"/>
            <a:endParaRPr lang="en-GB" sz="1200">
              <a:solidFill>
                <a:schemeClr val="tx1"/>
              </a:solidFill>
            </a:endParaRPr>
          </a:p>
        </p:txBody>
      </p:sp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1FD5C9B0-1B07-4EBC-906A-D849907DEDC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1FD5C9B0-1B07-4EBC-906A-D849907DED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61F9098E-7D0E-4766-9BC5-644ACA3F13E5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635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rtl="0"/>
            <a:endParaRPr lang="en-GB" sz="2200" b="1" i="0" baseline="0">
              <a:solidFill>
                <a:schemeClr val="tx1"/>
              </a:solidFill>
              <a:latin typeface="Arial" panose="020B0604020202020204" pitchFamily="34" charset="0"/>
              <a:ea typeface="Malgun Gothic Semilight" panose="020B0502040204020203" pitchFamily="34" charset="-128"/>
              <a:cs typeface="Malgun Gothic Semilight" panose="020B0502040204020203" pitchFamily="34" charset="-128"/>
              <a:sym typeface="Arial" panose="020B0604020202020204" pitchFamily="34" charset="0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34E8994-30E7-42C9-8B97-D389F537197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87541" y="6633547"/>
            <a:ext cx="125034" cy="123111"/>
          </a:xfrm>
          <a:prstGeom prst="rect">
            <a:avLst/>
          </a:prstGeom>
        </p:spPr>
        <p:txBody>
          <a:bodyPr/>
          <a:lstStyle>
            <a:lvl1pPr algn="r" rtl="0">
              <a:defRPr/>
            </a:lvl1pPr>
          </a:lstStyle>
          <a:p>
            <a:fld id="{C50CBA42-791E-4851-9FB4-39A223136DC3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5" name="Textplatzhalter 14">
            <a:extLst>
              <a:ext uri="{FF2B5EF4-FFF2-40B4-BE49-F238E27FC236}">
                <a16:creationId xmlns:a16="http://schemas.microsoft.com/office/drawing/2014/main" id="{BB8EC43E-B232-4253-AFDF-4EF8A3B5B7F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79424" y="371143"/>
            <a:ext cx="8141008" cy="215444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/>
              <a:t>Kapitelüberschrift eingeben</a:t>
            </a:r>
          </a:p>
        </p:txBody>
      </p:sp>
      <p:sp>
        <p:nvSpPr>
          <p:cNvPr id="25" name="Content Placeholder 24">
            <a:extLst>
              <a:ext uri="{FF2B5EF4-FFF2-40B4-BE49-F238E27FC236}">
                <a16:creationId xmlns:a16="http://schemas.microsoft.com/office/drawing/2014/main" id="{37A2152B-E3B7-40B3-890F-10D4484D682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479423" y="1850370"/>
            <a:ext cx="8136000" cy="4122017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GB"/>
              <a:t>Mastertextformat bearbeiten</a:t>
            </a:r>
          </a:p>
          <a:p>
            <a:pPr lvl="1"/>
            <a:r>
              <a:rPr lang="en-GB"/>
              <a:t>Zweite Ebene</a:t>
            </a:r>
          </a:p>
          <a:p>
            <a:pPr lvl="2"/>
            <a:r>
              <a:rPr lang="en-GB"/>
              <a:t>Dritte Ebene</a:t>
            </a:r>
          </a:p>
          <a:p>
            <a:pPr lvl="3"/>
            <a:r>
              <a:rPr lang="en-GB"/>
              <a:t>Vierte Ebene</a:t>
            </a:r>
          </a:p>
          <a:p>
            <a:pPr lvl="4"/>
            <a:r>
              <a:rPr lang="en-GB"/>
              <a:t>Fünfte Ebene</a:t>
            </a:r>
          </a:p>
        </p:txBody>
      </p:sp>
      <p:sp>
        <p:nvSpPr>
          <p:cNvPr id="11" name="Fußzeilenplatzhalter 2">
            <a:extLst>
              <a:ext uri="{FF2B5EF4-FFF2-40B4-BE49-F238E27FC236}">
                <a16:creationId xmlns:a16="http://schemas.microsoft.com/office/drawing/2014/main" id="{53712EDA-C950-4774-86F3-2E0D9426DA8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 flipH="1">
            <a:off x="479423" y="6633547"/>
            <a:ext cx="7246798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rtl="0">
              <a:defRPr lang="de-DE" sz="800">
                <a:solidFill>
                  <a:schemeClr val="tx2"/>
                </a:solidFill>
              </a:defRPr>
            </a:lvl1pPr>
          </a:lstStyle>
          <a:p>
            <a:r>
              <a:rPr lang="en-GB"/>
              <a:t>Senacor  |  Deutsche Bank  |  Request for Proposal – Miles &amp; More // Mobile app solution development </a:t>
            </a:r>
          </a:p>
        </p:txBody>
      </p:sp>
      <p:sp>
        <p:nvSpPr>
          <p:cNvPr id="12" name="Titelplatzhalter 1">
            <a:extLst>
              <a:ext uri="{FF2B5EF4-FFF2-40B4-BE49-F238E27FC236}">
                <a16:creationId xmlns:a16="http://schemas.microsoft.com/office/drawing/2014/main" id="{14F2448F-01E3-414B-858D-35126C2EF5C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720000"/>
            <a:ext cx="8141008" cy="609398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rtl="0">
              <a:defRPr/>
            </a:lvl1pPr>
          </a:lstStyle>
          <a:p>
            <a:r>
              <a:rPr lang="en-GB" noProof="0"/>
              <a:t>Mastertitelformat bearbeiten</a:t>
            </a:r>
          </a:p>
        </p:txBody>
      </p:sp>
      <p:grpSp>
        <p:nvGrpSpPr>
          <p:cNvPr id="16" name="Gruppieren 15">
            <a:extLst>
              <a:ext uri="{FF2B5EF4-FFF2-40B4-BE49-F238E27FC236}">
                <a16:creationId xmlns:a16="http://schemas.microsoft.com/office/drawing/2014/main" id="{7F646600-E35C-4F6D-A13A-217509D6B8F7}"/>
              </a:ext>
            </a:extLst>
          </p:cNvPr>
          <p:cNvGrpSpPr/>
          <p:nvPr userDrawn="1"/>
        </p:nvGrpSpPr>
        <p:grpSpPr>
          <a:xfrm>
            <a:off x="10240056" y="330434"/>
            <a:ext cx="1472671" cy="212964"/>
            <a:chOff x="10240056" y="330434"/>
            <a:chExt cx="1472671" cy="212964"/>
          </a:xfrm>
        </p:grpSpPr>
        <p:sp>
          <p:nvSpPr>
            <p:cNvPr id="17" name="Freihandform: Form 16">
              <a:extLst>
                <a:ext uri="{FF2B5EF4-FFF2-40B4-BE49-F238E27FC236}">
                  <a16:creationId xmlns:a16="http://schemas.microsoft.com/office/drawing/2014/main" id="{0501EED7-7CA7-41EB-A358-DFBA127144AE}"/>
                </a:ext>
              </a:extLst>
            </p:cNvPr>
            <p:cNvSpPr/>
            <p:nvPr/>
          </p:nvSpPr>
          <p:spPr>
            <a:xfrm>
              <a:off x="10602134" y="335724"/>
              <a:ext cx="213948" cy="204724"/>
            </a:xfrm>
            <a:custGeom>
              <a:avLst/>
              <a:gdLst>
                <a:gd name="connsiteX0" fmla="*/ 160491 w 213948"/>
                <a:gd name="connsiteY0" fmla="*/ 14175 h 204724"/>
                <a:gd name="connsiteX1" fmla="*/ 163136 w 213948"/>
                <a:gd name="connsiteY1" fmla="*/ 14327 h 204724"/>
                <a:gd name="connsiteX2" fmla="*/ 176854 w 213948"/>
                <a:gd name="connsiteY2" fmla="*/ 36064 h 204724"/>
                <a:gd name="connsiteX3" fmla="*/ 176854 w 213948"/>
                <a:gd name="connsiteY3" fmla="*/ 144712 h 204724"/>
                <a:gd name="connsiteX4" fmla="*/ 49408 w 213948"/>
                <a:gd name="connsiteY4" fmla="*/ 0 h 204724"/>
                <a:gd name="connsiteX5" fmla="*/ 4834 w 213948"/>
                <a:gd name="connsiteY5" fmla="*/ 0 h 204724"/>
                <a:gd name="connsiteX6" fmla="*/ 4834 w 213948"/>
                <a:gd name="connsiteY6" fmla="*/ 13894 h 204724"/>
                <a:gd name="connsiteX7" fmla="*/ 7292 w 213948"/>
                <a:gd name="connsiteY7" fmla="*/ 14140 h 204724"/>
                <a:gd name="connsiteX8" fmla="*/ 16727 w 213948"/>
                <a:gd name="connsiteY8" fmla="*/ 21163 h 204724"/>
                <a:gd name="connsiteX9" fmla="*/ 16727 w 213948"/>
                <a:gd name="connsiteY9" fmla="*/ 164821 h 204724"/>
                <a:gd name="connsiteX10" fmla="*/ 2681 w 213948"/>
                <a:gd name="connsiteY10" fmla="*/ 188372 h 204724"/>
                <a:gd name="connsiteX11" fmla="*/ 0 w 213948"/>
                <a:gd name="connsiteY11" fmla="*/ 188513 h 204724"/>
                <a:gd name="connsiteX12" fmla="*/ 0 w 213948"/>
                <a:gd name="connsiteY12" fmla="*/ 202559 h 204724"/>
                <a:gd name="connsiteX13" fmla="*/ 54523 w 213948"/>
                <a:gd name="connsiteY13" fmla="*/ 202559 h 204724"/>
                <a:gd name="connsiteX14" fmla="*/ 54523 w 213948"/>
                <a:gd name="connsiteY14" fmla="*/ 188665 h 204724"/>
                <a:gd name="connsiteX15" fmla="*/ 51936 w 213948"/>
                <a:gd name="connsiteY15" fmla="*/ 188466 h 204724"/>
                <a:gd name="connsiteX16" fmla="*/ 38580 w 213948"/>
                <a:gd name="connsiteY16" fmla="*/ 162457 h 204724"/>
                <a:gd name="connsiteX17" fmla="*/ 38580 w 213948"/>
                <a:gd name="connsiteY17" fmla="*/ 46048 h 204724"/>
                <a:gd name="connsiteX18" fmla="*/ 177873 w 213948"/>
                <a:gd name="connsiteY18" fmla="*/ 203776 h 204724"/>
                <a:gd name="connsiteX19" fmla="*/ 178716 w 213948"/>
                <a:gd name="connsiteY19" fmla="*/ 204724 h 204724"/>
                <a:gd name="connsiteX20" fmla="*/ 198708 w 213948"/>
                <a:gd name="connsiteY20" fmla="*/ 204724 h 204724"/>
                <a:gd name="connsiteX21" fmla="*/ 198708 w 213948"/>
                <a:gd name="connsiteY21" fmla="*/ 39271 h 204724"/>
                <a:gd name="connsiteX22" fmla="*/ 211373 w 213948"/>
                <a:gd name="connsiteY22" fmla="*/ 14421 h 204724"/>
                <a:gd name="connsiteX23" fmla="*/ 213948 w 213948"/>
                <a:gd name="connsiteY23" fmla="*/ 14198 h 204724"/>
                <a:gd name="connsiteX24" fmla="*/ 213948 w 213948"/>
                <a:gd name="connsiteY24" fmla="*/ 0 h 204724"/>
                <a:gd name="connsiteX25" fmla="*/ 160491 w 213948"/>
                <a:gd name="connsiteY25" fmla="*/ 0 h 2047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213948" h="204724">
                  <a:moveTo>
                    <a:pt x="160491" y="14175"/>
                  </a:moveTo>
                  <a:lnTo>
                    <a:pt x="163136" y="14327"/>
                  </a:lnTo>
                  <a:cubicBezTo>
                    <a:pt x="176878" y="15111"/>
                    <a:pt x="176878" y="17909"/>
                    <a:pt x="176854" y="36064"/>
                  </a:cubicBezTo>
                  <a:lnTo>
                    <a:pt x="176854" y="144712"/>
                  </a:lnTo>
                  <a:lnTo>
                    <a:pt x="49408" y="0"/>
                  </a:lnTo>
                  <a:lnTo>
                    <a:pt x="4834" y="0"/>
                  </a:lnTo>
                  <a:lnTo>
                    <a:pt x="4834" y="13894"/>
                  </a:lnTo>
                  <a:lnTo>
                    <a:pt x="7292" y="14140"/>
                  </a:lnTo>
                  <a:cubicBezTo>
                    <a:pt x="14655" y="14643"/>
                    <a:pt x="16586" y="17101"/>
                    <a:pt x="16727" y="21163"/>
                  </a:cubicBezTo>
                  <a:lnTo>
                    <a:pt x="16727" y="164821"/>
                  </a:lnTo>
                  <a:cubicBezTo>
                    <a:pt x="16727" y="182882"/>
                    <a:pt x="16727" y="187728"/>
                    <a:pt x="2681" y="188372"/>
                  </a:cubicBezTo>
                  <a:lnTo>
                    <a:pt x="0" y="188513"/>
                  </a:lnTo>
                  <a:lnTo>
                    <a:pt x="0" y="202559"/>
                  </a:lnTo>
                  <a:lnTo>
                    <a:pt x="54523" y="202559"/>
                  </a:lnTo>
                  <a:lnTo>
                    <a:pt x="54523" y="188665"/>
                  </a:lnTo>
                  <a:lnTo>
                    <a:pt x="51936" y="188466"/>
                  </a:lnTo>
                  <a:cubicBezTo>
                    <a:pt x="38557" y="187424"/>
                    <a:pt x="38569" y="182145"/>
                    <a:pt x="38580" y="162457"/>
                  </a:cubicBezTo>
                  <a:lnTo>
                    <a:pt x="38580" y="46048"/>
                  </a:lnTo>
                  <a:lnTo>
                    <a:pt x="177873" y="203776"/>
                  </a:lnTo>
                  <a:lnTo>
                    <a:pt x="178716" y="204724"/>
                  </a:lnTo>
                  <a:lnTo>
                    <a:pt x="198708" y="204724"/>
                  </a:lnTo>
                  <a:lnTo>
                    <a:pt x="198708" y="39271"/>
                  </a:lnTo>
                  <a:cubicBezTo>
                    <a:pt x="198708" y="19080"/>
                    <a:pt x="199797" y="15521"/>
                    <a:pt x="211373" y="14421"/>
                  </a:cubicBezTo>
                  <a:lnTo>
                    <a:pt x="213948" y="14198"/>
                  </a:lnTo>
                  <a:lnTo>
                    <a:pt x="213948" y="0"/>
                  </a:lnTo>
                  <a:lnTo>
                    <a:pt x="160491" y="0"/>
                  </a:lnTo>
                  <a:close/>
                </a:path>
              </a:pathLst>
            </a:custGeom>
            <a:solidFill>
              <a:srgbClr val="000000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18" name="Freihandform: Form 17">
              <a:extLst>
                <a:ext uri="{FF2B5EF4-FFF2-40B4-BE49-F238E27FC236}">
                  <a16:creationId xmlns:a16="http://schemas.microsoft.com/office/drawing/2014/main" id="{2FF1F3C6-7EB2-413F-A0DB-30DBFF7638C8}"/>
                </a:ext>
              </a:extLst>
            </p:cNvPr>
            <p:cNvSpPr/>
            <p:nvPr/>
          </p:nvSpPr>
          <p:spPr>
            <a:xfrm>
              <a:off x="10240056" y="330434"/>
              <a:ext cx="150166" cy="212964"/>
            </a:xfrm>
            <a:custGeom>
              <a:avLst/>
              <a:gdLst>
                <a:gd name="connsiteX0" fmla="*/ 87918 w 150166"/>
                <a:gd name="connsiteY0" fmla="*/ 86267 h 212964"/>
                <a:gd name="connsiteX1" fmla="*/ 87918 w 150166"/>
                <a:gd name="connsiteY1" fmla="*/ 86267 h 212964"/>
                <a:gd name="connsiteX2" fmla="*/ 43309 w 150166"/>
                <a:gd name="connsiteY2" fmla="*/ 46282 h 212964"/>
                <a:gd name="connsiteX3" fmla="*/ 73427 w 150166"/>
                <a:gd name="connsiteY3" fmla="*/ 17078 h 212964"/>
                <a:gd name="connsiteX4" fmla="*/ 120248 w 150166"/>
                <a:gd name="connsiteY4" fmla="*/ 39739 h 212964"/>
                <a:gd name="connsiteX5" fmla="*/ 121032 w 150166"/>
                <a:gd name="connsiteY5" fmla="*/ 41331 h 212964"/>
                <a:gd name="connsiteX6" fmla="*/ 136109 w 150166"/>
                <a:gd name="connsiteY6" fmla="*/ 41167 h 212964"/>
                <a:gd name="connsiteX7" fmla="*/ 129589 w 150166"/>
                <a:gd name="connsiteY7" fmla="*/ 3078 h 212964"/>
                <a:gd name="connsiteX8" fmla="*/ 120026 w 150166"/>
                <a:gd name="connsiteY8" fmla="*/ 3078 h 212964"/>
                <a:gd name="connsiteX9" fmla="*/ 118551 w 150166"/>
                <a:gd name="connsiteY9" fmla="*/ 3746 h 212964"/>
                <a:gd name="connsiteX10" fmla="*/ 110977 w 150166"/>
                <a:gd name="connsiteY10" fmla="*/ 5384 h 212964"/>
                <a:gd name="connsiteX11" fmla="*/ 101438 w 150166"/>
                <a:gd name="connsiteY11" fmla="*/ 3804 h 212964"/>
                <a:gd name="connsiteX12" fmla="*/ 95807 w 150166"/>
                <a:gd name="connsiteY12" fmla="*/ 2634 h 212964"/>
                <a:gd name="connsiteX13" fmla="*/ 69412 w 150166"/>
                <a:gd name="connsiteY13" fmla="*/ 0 h 212964"/>
                <a:gd name="connsiteX14" fmla="*/ 5103 w 150166"/>
                <a:gd name="connsiteY14" fmla="*/ 55096 h 212964"/>
                <a:gd name="connsiteX15" fmla="*/ 63817 w 150166"/>
                <a:gd name="connsiteY15" fmla="*/ 117415 h 212964"/>
                <a:gd name="connsiteX16" fmla="*/ 110966 w 150166"/>
                <a:gd name="connsiteY16" fmla="*/ 162094 h 212964"/>
                <a:gd name="connsiteX17" fmla="*/ 72093 w 150166"/>
                <a:gd name="connsiteY17" fmla="*/ 193944 h 212964"/>
                <a:gd name="connsiteX18" fmla="*/ 15030 w 150166"/>
                <a:gd name="connsiteY18" fmla="*/ 167174 h 212964"/>
                <a:gd name="connsiteX19" fmla="*/ 14327 w 150166"/>
                <a:gd name="connsiteY19" fmla="*/ 165418 h 212964"/>
                <a:gd name="connsiteX20" fmla="*/ 0 w 150166"/>
                <a:gd name="connsiteY20" fmla="*/ 165418 h 212964"/>
                <a:gd name="connsiteX21" fmla="*/ 6368 w 150166"/>
                <a:gd name="connsiteY21" fmla="*/ 208283 h 212964"/>
                <a:gd name="connsiteX22" fmla="*/ 17932 w 150166"/>
                <a:gd name="connsiteY22" fmla="*/ 208283 h 212964"/>
                <a:gd name="connsiteX23" fmla="*/ 18740 w 150166"/>
                <a:gd name="connsiteY23" fmla="*/ 207510 h 212964"/>
                <a:gd name="connsiteX24" fmla="*/ 25997 w 150166"/>
                <a:gd name="connsiteY24" fmla="*/ 205895 h 212964"/>
                <a:gd name="connsiteX25" fmla="*/ 38393 w 150166"/>
                <a:gd name="connsiteY25" fmla="*/ 208107 h 212964"/>
                <a:gd name="connsiteX26" fmla="*/ 74445 w 150166"/>
                <a:gd name="connsiteY26" fmla="*/ 212965 h 212964"/>
                <a:gd name="connsiteX27" fmla="*/ 150167 w 150166"/>
                <a:gd name="connsiteY27" fmla="*/ 152648 h 212964"/>
                <a:gd name="connsiteX28" fmla="*/ 87930 w 150166"/>
                <a:gd name="connsiteY28" fmla="*/ 86267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150166" h="212964">
                  <a:moveTo>
                    <a:pt x="87918" y="86267"/>
                  </a:moveTo>
                  <a:lnTo>
                    <a:pt x="87918" y="86267"/>
                  </a:lnTo>
                  <a:cubicBezTo>
                    <a:pt x="64976" y="74750"/>
                    <a:pt x="43309" y="63864"/>
                    <a:pt x="43309" y="46282"/>
                  </a:cubicBezTo>
                  <a:cubicBezTo>
                    <a:pt x="43309" y="34507"/>
                    <a:pt x="52884" y="17078"/>
                    <a:pt x="73427" y="17078"/>
                  </a:cubicBezTo>
                  <a:cubicBezTo>
                    <a:pt x="97142" y="17078"/>
                    <a:pt x="111305" y="23574"/>
                    <a:pt x="120248" y="39739"/>
                  </a:cubicBezTo>
                  <a:lnTo>
                    <a:pt x="121032" y="41331"/>
                  </a:lnTo>
                  <a:lnTo>
                    <a:pt x="136109" y="41167"/>
                  </a:lnTo>
                  <a:lnTo>
                    <a:pt x="129589" y="3078"/>
                  </a:lnTo>
                  <a:lnTo>
                    <a:pt x="120026" y="3078"/>
                  </a:lnTo>
                  <a:lnTo>
                    <a:pt x="118551" y="3746"/>
                  </a:lnTo>
                  <a:cubicBezTo>
                    <a:pt x="116205" y="4922"/>
                    <a:pt x="113600" y="5486"/>
                    <a:pt x="110977" y="5384"/>
                  </a:cubicBezTo>
                  <a:cubicBezTo>
                    <a:pt x="106998" y="5232"/>
                    <a:pt x="105242" y="4577"/>
                    <a:pt x="101438" y="3804"/>
                  </a:cubicBezTo>
                  <a:cubicBezTo>
                    <a:pt x="99822" y="3465"/>
                    <a:pt x="98031" y="3008"/>
                    <a:pt x="95807" y="2634"/>
                  </a:cubicBezTo>
                  <a:cubicBezTo>
                    <a:pt x="87117" y="890"/>
                    <a:pt x="78276" y="8"/>
                    <a:pt x="69412" y="0"/>
                  </a:cubicBezTo>
                  <a:cubicBezTo>
                    <a:pt x="33945" y="0"/>
                    <a:pt x="5103" y="24710"/>
                    <a:pt x="5103" y="55096"/>
                  </a:cubicBezTo>
                  <a:cubicBezTo>
                    <a:pt x="5103" y="85846"/>
                    <a:pt x="34952" y="101917"/>
                    <a:pt x="63817" y="117415"/>
                  </a:cubicBezTo>
                  <a:cubicBezTo>
                    <a:pt x="88059" y="130455"/>
                    <a:pt x="110966" y="142804"/>
                    <a:pt x="110966" y="162094"/>
                  </a:cubicBezTo>
                  <a:cubicBezTo>
                    <a:pt x="110966" y="180249"/>
                    <a:pt x="94251" y="193944"/>
                    <a:pt x="72093" y="193944"/>
                  </a:cubicBezTo>
                  <a:cubicBezTo>
                    <a:pt x="41799" y="193944"/>
                    <a:pt x="23130" y="185177"/>
                    <a:pt x="15030" y="167174"/>
                  </a:cubicBezTo>
                  <a:lnTo>
                    <a:pt x="14327" y="165418"/>
                  </a:lnTo>
                  <a:lnTo>
                    <a:pt x="0" y="165418"/>
                  </a:lnTo>
                  <a:lnTo>
                    <a:pt x="6368" y="208283"/>
                  </a:lnTo>
                  <a:lnTo>
                    <a:pt x="17932" y="208283"/>
                  </a:lnTo>
                  <a:lnTo>
                    <a:pt x="18740" y="207510"/>
                  </a:lnTo>
                  <a:cubicBezTo>
                    <a:pt x="20461" y="205965"/>
                    <a:pt x="22603" y="205860"/>
                    <a:pt x="25997" y="205895"/>
                  </a:cubicBezTo>
                  <a:cubicBezTo>
                    <a:pt x="29392" y="205930"/>
                    <a:pt x="33313" y="206878"/>
                    <a:pt x="38393" y="208107"/>
                  </a:cubicBezTo>
                  <a:cubicBezTo>
                    <a:pt x="50154" y="211257"/>
                    <a:pt x="62270" y="212889"/>
                    <a:pt x="74445" y="212965"/>
                  </a:cubicBezTo>
                  <a:cubicBezTo>
                    <a:pt x="118328" y="212965"/>
                    <a:pt x="150167" y="187600"/>
                    <a:pt x="150167" y="152648"/>
                  </a:cubicBezTo>
                  <a:cubicBezTo>
                    <a:pt x="150167" y="117696"/>
                    <a:pt x="117052" y="100922"/>
                    <a:pt x="87930" y="86267"/>
                  </a:cubicBezTo>
                </a:path>
              </a:pathLst>
            </a:custGeom>
            <a:solidFill>
              <a:srgbClr val="000000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19" name="Freihandform: Form 18">
              <a:extLst>
                <a:ext uri="{FF2B5EF4-FFF2-40B4-BE49-F238E27FC236}">
                  <a16:creationId xmlns:a16="http://schemas.microsoft.com/office/drawing/2014/main" id="{D1852364-B27C-41D4-9BB9-0C20A2026F52}"/>
                </a:ext>
              </a:extLst>
            </p:cNvPr>
            <p:cNvSpPr/>
            <p:nvPr/>
          </p:nvSpPr>
          <p:spPr>
            <a:xfrm>
              <a:off x="10421346" y="335748"/>
              <a:ext cx="149780" cy="202570"/>
            </a:xfrm>
            <a:custGeom>
              <a:avLst/>
              <a:gdLst>
                <a:gd name="connsiteX0" fmla="*/ 10184 w 149780"/>
                <a:gd name="connsiteY0" fmla="*/ 176725 h 202570"/>
                <a:gd name="connsiteX1" fmla="*/ 2540 w 149780"/>
                <a:gd name="connsiteY1" fmla="*/ 187986 h 202570"/>
                <a:gd name="connsiteX2" fmla="*/ 0 w 149780"/>
                <a:gd name="connsiteY2" fmla="*/ 188232 h 202570"/>
                <a:gd name="connsiteX3" fmla="*/ 0 w 149780"/>
                <a:gd name="connsiteY3" fmla="*/ 202571 h 202570"/>
                <a:gd name="connsiteX4" fmla="*/ 144864 w 149780"/>
                <a:gd name="connsiteY4" fmla="*/ 202571 h 202570"/>
                <a:gd name="connsiteX5" fmla="*/ 149780 w 149780"/>
                <a:gd name="connsiteY5" fmla="*/ 162059 h 202570"/>
                <a:gd name="connsiteX6" fmla="*/ 134563 w 149780"/>
                <a:gd name="connsiteY6" fmla="*/ 162176 h 202570"/>
                <a:gd name="connsiteX7" fmla="*/ 133943 w 149780"/>
                <a:gd name="connsiteY7" fmla="*/ 164107 h 202570"/>
                <a:gd name="connsiteX8" fmla="*/ 101379 w 149780"/>
                <a:gd name="connsiteY8" fmla="*/ 182754 h 202570"/>
                <a:gd name="connsiteX9" fmla="*/ 64192 w 149780"/>
                <a:gd name="connsiteY9" fmla="*/ 182754 h 202570"/>
                <a:gd name="connsiteX10" fmla="*/ 49244 w 149780"/>
                <a:gd name="connsiteY10" fmla="*/ 162749 h 202570"/>
                <a:gd name="connsiteX11" fmla="*/ 49244 w 149780"/>
                <a:gd name="connsiteY11" fmla="*/ 107875 h 202570"/>
                <a:gd name="connsiteX12" fmla="*/ 89042 w 149780"/>
                <a:gd name="connsiteY12" fmla="*/ 107875 h 202570"/>
                <a:gd name="connsiteX13" fmla="*/ 107630 w 149780"/>
                <a:gd name="connsiteY13" fmla="*/ 118878 h 202570"/>
                <a:gd name="connsiteX14" fmla="*/ 108051 w 149780"/>
                <a:gd name="connsiteY14" fmla="*/ 121219 h 202570"/>
                <a:gd name="connsiteX15" fmla="*/ 122542 w 149780"/>
                <a:gd name="connsiteY15" fmla="*/ 121219 h 202570"/>
                <a:gd name="connsiteX16" fmla="*/ 122542 w 149780"/>
                <a:gd name="connsiteY16" fmla="*/ 75569 h 202570"/>
                <a:gd name="connsiteX17" fmla="*/ 108285 w 149780"/>
                <a:gd name="connsiteY17" fmla="*/ 75569 h 202570"/>
                <a:gd name="connsiteX18" fmla="*/ 107934 w 149780"/>
                <a:gd name="connsiteY18" fmla="*/ 77910 h 202570"/>
                <a:gd name="connsiteX19" fmla="*/ 89042 w 149780"/>
                <a:gd name="connsiteY19" fmla="*/ 88105 h 202570"/>
                <a:gd name="connsiteX20" fmla="*/ 49244 w 149780"/>
                <a:gd name="connsiteY20" fmla="*/ 88105 h 202570"/>
                <a:gd name="connsiteX21" fmla="*/ 49244 w 149780"/>
                <a:gd name="connsiteY21" fmla="*/ 19829 h 202570"/>
                <a:gd name="connsiteX22" fmla="*/ 102550 w 149780"/>
                <a:gd name="connsiteY22" fmla="*/ 19829 h 202570"/>
                <a:gd name="connsiteX23" fmla="*/ 124310 w 149780"/>
                <a:gd name="connsiteY23" fmla="*/ 34226 h 202570"/>
                <a:gd name="connsiteX24" fmla="*/ 124883 w 149780"/>
                <a:gd name="connsiteY24" fmla="*/ 36286 h 202570"/>
                <a:gd name="connsiteX25" fmla="*/ 140100 w 149780"/>
                <a:gd name="connsiteY25" fmla="*/ 36286 h 202570"/>
                <a:gd name="connsiteX26" fmla="*/ 137595 w 149780"/>
                <a:gd name="connsiteY26" fmla="*/ 0 h 202570"/>
                <a:gd name="connsiteX27" fmla="*/ 222 w 149780"/>
                <a:gd name="connsiteY27" fmla="*/ 0 h 202570"/>
                <a:gd name="connsiteX28" fmla="*/ 222 w 149780"/>
                <a:gd name="connsiteY28" fmla="*/ 14198 h 202570"/>
                <a:gd name="connsiteX29" fmla="*/ 2798 w 149780"/>
                <a:gd name="connsiteY29" fmla="*/ 14374 h 202570"/>
                <a:gd name="connsiteX30" fmla="*/ 10207 w 149780"/>
                <a:gd name="connsiteY30" fmla="*/ 32412 h 2025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149780" h="202570">
                  <a:moveTo>
                    <a:pt x="10184" y="176725"/>
                  </a:moveTo>
                  <a:cubicBezTo>
                    <a:pt x="9973" y="184626"/>
                    <a:pt x="9774" y="187260"/>
                    <a:pt x="2540" y="187986"/>
                  </a:cubicBezTo>
                  <a:lnTo>
                    <a:pt x="0" y="188232"/>
                  </a:lnTo>
                  <a:lnTo>
                    <a:pt x="0" y="202571"/>
                  </a:lnTo>
                  <a:lnTo>
                    <a:pt x="144864" y="202571"/>
                  </a:lnTo>
                  <a:lnTo>
                    <a:pt x="149780" y="162059"/>
                  </a:lnTo>
                  <a:lnTo>
                    <a:pt x="134563" y="162176"/>
                  </a:lnTo>
                  <a:lnTo>
                    <a:pt x="133943" y="164107"/>
                  </a:lnTo>
                  <a:cubicBezTo>
                    <a:pt x="127927" y="182964"/>
                    <a:pt x="121734" y="182906"/>
                    <a:pt x="101379" y="182754"/>
                  </a:cubicBezTo>
                  <a:lnTo>
                    <a:pt x="64192" y="182754"/>
                  </a:lnTo>
                  <a:cubicBezTo>
                    <a:pt x="49654" y="182754"/>
                    <a:pt x="49244" y="179909"/>
                    <a:pt x="49244" y="162749"/>
                  </a:cubicBezTo>
                  <a:lnTo>
                    <a:pt x="49244" y="107875"/>
                  </a:lnTo>
                  <a:lnTo>
                    <a:pt x="89042" y="107875"/>
                  </a:lnTo>
                  <a:cubicBezTo>
                    <a:pt x="102292" y="107875"/>
                    <a:pt x="105066" y="108168"/>
                    <a:pt x="107630" y="118878"/>
                  </a:cubicBezTo>
                  <a:lnTo>
                    <a:pt x="108051" y="121219"/>
                  </a:lnTo>
                  <a:lnTo>
                    <a:pt x="122542" y="121219"/>
                  </a:lnTo>
                  <a:lnTo>
                    <a:pt x="122542" y="75569"/>
                  </a:lnTo>
                  <a:lnTo>
                    <a:pt x="108285" y="75569"/>
                  </a:lnTo>
                  <a:lnTo>
                    <a:pt x="107934" y="77910"/>
                  </a:lnTo>
                  <a:cubicBezTo>
                    <a:pt x="106248" y="87368"/>
                    <a:pt x="103158" y="88105"/>
                    <a:pt x="89042" y="88105"/>
                  </a:cubicBezTo>
                  <a:lnTo>
                    <a:pt x="49244" y="88105"/>
                  </a:lnTo>
                  <a:lnTo>
                    <a:pt x="49244" y="19829"/>
                  </a:lnTo>
                  <a:lnTo>
                    <a:pt x="102550" y="19829"/>
                  </a:lnTo>
                  <a:cubicBezTo>
                    <a:pt x="116233" y="19829"/>
                    <a:pt x="120716" y="19829"/>
                    <a:pt x="124310" y="34226"/>
                  </a:cubicBezTo>
                  <a:lnTo>
                    <a:pt x="124883" y="36286"/>
                  </a:lnTo>
                  <a:lnTo>
                    <a:pt x="140100" y="36286"/>
                  </a:lnTo>
                  <a:lnTo>
                    <a:pt x="137595" y="0"/>
                  </a:lnTo>
                  <a:lnTo>
                    <a:pt x="222" y="0"/>
                  </a:lnTo>
                  <a:lnTo>
                    <a:pt x="222" y="14198"/>
                  </a:lnTo>
                  <a:lnTo>
                    <a:pt x="2798" y="14374"/>
                  </a:lnTo>
                  <a:cubicBezTo>
                    <a:pt x="10102" y="15252"/>
                    <a:pt x="10113" y="17886"/>
                    <a:pt x="10207" y="32412"/>
                  </a:cubicBezTo>
                  <a:close/>
                </a:path>
              </a:pathLst>
            </a:custGeom>
            <a:solidFill>
              <a:srgbClr val="000000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20" name="Freihandform: Form 19">
              <a:extLst>
                <a:ext uri="{FF2B5EF4-FFF2-40B4-BE49-F238E27FC236}">
                  <a16:creationId xmlns:a16="http://schemas.microsoft.com/office/drawing/2014/main" id="{4B8113F0-97EB-46BB-A7DD-CFAFD24FF7DF}"/>
                </a:ext>
              </a:extLst>
            </p:cNvPr>
            <p:cNvSpPr/>
            <p:nvPr/>
          </p:nvSpPr>
          <p:spPr>
            <a:xfrm>
              <a:off x="11496262" y="332657"/>
              <a:ext cx="216465" cy="208540"/>
            </a:xfrm>
            <a:custGeom>
              <a:avLst/>
              <a:gdLst>
                <a:gd name="connsiteX0" fmla="*/ 145742 w 216465"/>
                <a:gd name="connsiteY0" fmla="*/ 131087 h 208540"/>
                <a:gd name="connsiteX1" fmla="*/ 125609 w 216465"/>
                <a:gd name="connsiteY1" fmla="*/ 111902 h 208540"/>
                <a:gd name="connsiteX2" fmla="*/ 162609 w 216465"/>
                <a:gd name="connsiteY2" fmla="*/ 59556 h 208540"/>
                <a:gd name="connsiteX3" fmla="*/ 74738 w 216465"/>
                <a:gd name="connsiteY3" fmla="*/ 0 h 208540"/>
                <a:gd name="connsiteX4" fmla="*/ 36321 w 216465"/>
                <a:gd name="connsiteY4" fmla="*/ 632 h 208540"/>
                <a:gd name="connsiteX5" fmla="*/ 15147 w 216465"/>
                <a:gd name="connsiteY5" fmla="*/ 1662 h 208540"/>
                <a:gd name="connsiteX6" fmla="*/ 6450 w 216465"/>
                <a:gd name="connsiteY6" fmla="*/ 2247 h 208540"/>
                <a:gd name="connsiteX7" fmla="*/ 6450 w 216465"/>
                <a:gd name="connsiteY7" fmla="*/ 16586 h 208540"/>
                <a:gd name="connsiteX8" fmla="*/ 8978 w 216465"/>
                <a:gd name="connsiteY8" fmla="*/ 16703 h 208540"/>
                <a:gd name="connsiteX9" fmla="*/ 17698 w 216465"/>
                <a:gd name="connsiteY9" fmla="*/ 25061 h 208540"/>
                <a:gd name="connsiteX10" fmla="*/ 17581 w 216465"/>
                <a:gd name="connsiteY10" fmla="*/ 173413 h 208540"/>
                <a:gd name="connsiteX11" fmla="*/ 2669 w 216465"/>
                <a:gd name="connsiteY11" fmla="*/ 191486 h 208540"/>
                <a:gd name="connsiteX12" fmla="*/ 0 w 216465"/>
                <a:gd name="connsiteY12" fmla="*/ 191626 h 208540"/>
                <a:gd name="connsiteX13" fmla="*/ 0 w 216465"/>
                <a:gd name="connsiteY13" fmla="*/ 205672 h 208540"/>
                <a:gd name="connsiteX14" fmla="*/ 76435 w 216465"/>
                <a:gd name="connsiteY14" fmla="*/ 205672 h 208540"/>
                <a:gd name="connsiteX15" fmla="*/ 76435 w 216465"/>
                <a:gd name="connsiteY15" fmla="*/ 191544 h 208540"/>
                <a:gd name="connsiteX16" fmla="*/ 73790 w 216465"/>
                <a:gd name="connsiteY16" fmla="*/ 191544 h 208540"/>
                <a:gd name="connsiteX17" fmla="*/ 58374 w 216465"/>
                <a:gd name="connsiteY17" fmla="*/ 164353 h 208540"/>
                <a:gd name="connsiteX18" fmla="*/ 58374 w 216465"/>
                <a:gd name="connsiteY18" fmla="*/ 124192 h 208540"/>
                <a:gd name="connsiteX19" fmla="*/ 82651 w 216465"/>
                <a:gd name="connsiteY19" fmla="*/ 123982 h 208540"/>
                <a:gd name="connsiteX20" fmla="*/ 115425 w 216465"/>
                <a:gd name="connsiteY20" fmla="*/ 153526 h 208540"/>
                <a:gd name="connsiteX21" fmla="*/ 132035 w 216465"/>
                <a:gd name="connsiteY21" fmla="*/ 170276 h 208540"/>
                <a:gd name="connsiteX22" fmla="*/ 141926 w 216465"/>
                <a:gd name="connsiteY22" fmla="*/ 180612 h 208540"/>
                <a:gd name="connsiteX23" fmla="*/ 148797 w 216465"/>
                <a:gd name="connsiteY23" fmla="*/ 188232 h 208540"/>
                <a:gd name="connsiteX24" fmla="*/ 201798 w 216465"/>
                <a:gd name="connsiteY24" fmla="*/ 208540 h 208540"/>
                <a:gd name="connsiteX25" fmla="*/ 213281 w 216465"/>
                <a:gd name="connsiteY25" fmla="*/ 208376 h 208540"/>
                <a:gd name="connsiteX26" fmla="*/ 216465 w 216465"/>
                <a:gd name="connsiteY26" fmla="*/ 208306 h 208540"/>
                <a:gd name="connsiteX27" fmla="*/ 216465 w 216465"/>
                <a:gd name="connsiteY27" fmla="*/ 194201 h 208540"/>
                <a:gd name="connsiteX28" fmla="*/ 213504 w 216465"/>
                <a:gd name="connsiteY28" fmla="*/ 193932 h 208540"/>
                <a:gd name="connsiteX29" fmla="*/ 213504 w 216465"/>
                <a:gd name="connsiteY29" fmla="*/ 193932 h 208540"/>
                <a:gd name="connsiteX30" fmla="*/ 190316 w 216465"/>
                <a:gd name="connsiteY30" fmla="*/ 177159 h 208540"/>
                <a:gd name="connsiteX31" fmla="*/ 171131 w 216465"/>
                <a:gd name="connsiteY31" fmla="*/ 156967 h 208540"/>
                <a:gd name="connsiteX32" fmla="*/ 119031 w 216465"/>
                <a:gd name="connsiteY32" fmla="*/ 62728 h 208540"/>
                <a:gd name="connsiteX33" fmla="*/ 65713 w 216465"/>
                <a:gd name="connsiteY33" fmla="*/ 110041 h 208540"/>
                <a:gd name="connsiteX34" fmla="*/ 58397 w 216465"/>
                <a:gd name="connsiteY34" fmla="*/ 109725 h 208540"/>
                <a:gd name="connsiteX35" fmla="*/ 58397 w 216465"/>
                <a:gd name="connsiteY35" fmla="*/ 15334 h 208540"/>
                <a:gd name="connsiteX36" fmla="*/ 71542 w 216465"/>
                <a:gd name="connsiteY36" fmla="*/ 15182 h 208540"/>
                <a:gd name="connsiteX37" fmla="*/ 119031 w 216465"/>
                <a:gd name="connsiteY37" fmla="*/ 62728 h 2085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16465" h="208540">
                  <a:moveTo>
                    <a:pt x="145742" y="131087"/>
                  </a:moveTo>
                  <a:cubicBezTo>
                    <a:pt x="143541" y="128874"/>
                    <a:pt x="132632" y="117930"/>
                    <a:pt x="125609" y="111902"/>
                  </a:cubicBezTo>
                  <a:cubicBezTo>
                    <a:pt x="150190" y="100325"/>
                    <a:pt x="162609" y="82721"/>
                    <a:pt x="162609" y="59556"/>
                  </a:cubicBezTo>
                  <a:cubicBezTo>
                    <a:pt x="162609" y="41647"/>
                    <a:pt x="154053" y="0"/>
                    <a:pt x="74738" y="0"/>
                  </a:cubicBezTo>
                  <a:cubicBezTo>
                    <a:pt x="68242" y="0"/>
                    <a:pt x="53037" y="0"/>
                    <a:pt x="36321" y="632"/>
                  </a:cubicBezTo>
                  <a:cubicBezTo>
                    <a:pt x="26243" y="1077"/>
                    <a:pt x="20332" y="1393"/>
                    <a:pt x="15147" y="1662"/>
                  </a:cubicBezTo>
                  <a:lnTo>
                    <a:pt x="6450" y="2247"/>
                  </a:lnTo>
                  <a:lnTo>
                    <a:pt x="6450" y="16586"/>
                  </a:lnTo>
                  <a:lnTo>
                    <a:pt x="8978" y="16703"/>
                  </a:lnTo>
                  <a:cubicBezTo>
                    <a:pt x="15240" y="17160"/>
                    <a:pt x="17616" y="18787"/>
                    <a:pt x="17698" y="25061"/>
                  </a:cubicBezTo>
                  <a:lnTo>
                    <a:pt x="17581" y="173413"/>
                  </a:lnTo>
                  <a:cubicBezTo>
                    <a:pt x="17195" y="185715"/>
                    <a:pt x="16411" y="190842"/>
                    <a:pt x="2669" y="191486"/>
                  </a:cubicBezTo>
                  <a:lnTo>
                    <a:pt x="0" y="191626"/>
                  </a:lnTo>
                  <a:lnTo>
                    <a:pt x="0" y="205672"/>
                  </a:lnTo>
                  <a:lnTo>
                    <a:pt x="76435" y="205672"/>
                  </a:lnTo>
                  <a:lnTo>
                    <a:pt x="76435" y="191544"/>
                  </a:lnTo>
                  <a:lnTo>
                    <a:pt x="73790" y="191544"/>
                  </a:lnTo>
                  <a:cubicBezTo>
                    <a:pt x="58362" y="190783"/>
                    <a:pt x="58374" y="187260"/>
                    <a:pt x="58374" y="164353"/>
                  </a:cubicBezTo>
                  <a:lnTo>
                    <a:pt x="58374" y="124192"/>
                  </a:lnTo>
                  <a:cubicBezTo>
                    <a:pt x="66462" y="124664"/>
                    <a:pt x="74574" y="124593"/>
                    <a:pt x="82651" y="123982"/>
                  </a:cubicBezTo>
                  <a:cubicBezTo>
                    <a:pt x="95000" y="133205"/>
                    <a:pt x="99635" y="137583"/>
                    <a:pt x="115425" y="153526"/>
                  </a:cubicBezTo>
                  <a:lnTo>
                    <a:pt x="132035" y="170276"/>
                  </a:lnTo>
                  <a:cubicBezTo>
                    <a:pt x="135804" y="174092"/>
                    <a:pt x="139058" y="177556"/>
                    <a:pt x="141926" y="180612"/>
                  </a:cubicBezTo>
                  <a:cubicBezTo>
                    <a:pt x="144525" y="183374"/>
                    <a:pt x="146784" y="185949"/>
                    <a:pt x="148797" y="188232"/>
                  </a:cubicBezTo>
                  <a:cubicBezTo>
                    <a:pt x="161087" y="202173"/>
                    <a:pt x="166706" y="208540"/>
                    <a:pt x="201798" y="208540"/>
                  </a:cubicBezTo>
                  <a:cubicBezTo>
                    <a:pt x="205310" y="208540"/>
                    <a:pt x="209044" y="208540"/>
                    <a:pt x="213281" y="208376"/>
                  </a:cubicBezTo>
                  <a:lnTo>
                    <a:pt x="216465" y="208306"/>
                  </a:lnTo>
                  <a:lnTo>
                    <a:pt x="216465" y="194201"/>
                  </a:lnTo>
                  <a:lnTo>
                    <a:pt x="213504" y="193932"/>
                  </a:lnTo>
                  <a:lnTo>
                    <a:pt x="213504" y="193932"/>
                  </a:lnTo>
                  <a:cubicBezTo>
                    <a:pt x="205228" y="193160"/>
                    <a:pt x="200253" y="187810"/>
                    <a:pt x="190316" y="177159"/>
                  </a:cubicBezTo>
                  <a:lnTo>
                    <a:pt x="171131" y="156967"/>
                  </a:lnTo>
                  <a:close/>
                  <a:moveTo>
                    <a:pt x="119031" y="62728"/>
                  </a:moveTo>
                  <a:cubicBezTo>
                    <a:pt x="119031" y="95210"/>
                    <a:pt x="104247" y="108554"/>
                    <a:pt x="65713" y="110041"/>
                  </a:cubicBezTo>
                  <a:cubicBezTo>
                    <a:pt x="64543" y="110041"/>
                    <a:pt x="61195" y="110041"/>
                    <a:pt x="58397" y="109725"/>
                  </a:cubicBezTo>
                  <a:lnTo>
                    <a:pt x="58397" y="15334"/>
                  </a:lnTo>
                  <a:cubicBezTo>
                    <a:pt x="62225" y="15182"/>
                    <a:pt x="68101" y="15182"/>
                    <a:pt x="71542" y="15182"/>
                  </a:cubicBezTo>
                  <a:cubicBezTo>
                    <a:pt x="103193" y="15170"/>
                    <a:pt x="119031" y="31159"/>
                    <a:pt x="119031" y="62728"/>
                  </a:cubicBezTo>
                  <a:close/>
                </a:path>
              </a:pathLst>
            </a:custGeom>
            <a:solidFill>
              <a:srgbClr val="000000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21" name="Freihandform: Form 20">
              <a:extLst>
                <a:ext uri="{FF2B5EF4-FFF2-40B4-BE49-F238E27FC236}">
                  <a16:creationId xmlns:a16="http://schemas.microsoft.com/office/drawing/2014/main" id="{178144B9-2FD6-4518-AC86-5B1AB1077F5A}"/>
                </a:ext>
              </a:extLst>
            </p:cNvPr>
            <p:cNvSpPr/>
            <p:nvPr/>
          </p:nvSpPr>
          <p:spPr>
            <a:xfrm>
              <a:off x="10830304" y="335724"/>
              <a:ext cx="207171" cy="202652"/>
            </a:xfrm>
            <a:custGeom>
              <a:avLst/>
              <a:gdLst>
                <a:gd name="connsiteX0" fmla="*/ 121430 w 207171"/>
                <a:gd name="connsiteY0" fmla="*/ 0 h 202652"/>
                <a:gd name="connsiteX1" fmla="*/ 90762 w 207171"/>
                <a:gd name="connsiteY1" fmla="*/ 0 h 202652"/>
                <a:gd name="connsiteX2" fmla="*/ 24979 w 207171"/>
                <a:gd name="connsiteY2" fmla="*/ 164529 h 202652"/>
                <a:gd name="connsiteX3" fmla="*/ 2610 w 207171"/>
                <a:gd name="connsiteY3" fmla="*/ 188431 h 202652"/>
                <a:gd name="connsiteX4" fmla="*/ 0 w 207171"/>
                <a:gd name="connsiteY4" fmla="*/ 188606 h 202652"/>
                <a:gd name="connsiteX5" fmla="*/ 0 w 207171"/>
                <a:gd name="connsiteY5" fmla="*/ 202652 h 202652"/>
                <a:gd name="connsiteX6" fmla="*/ 56735 w 207171"/>
                <a:gd name="connsiteY6" fmla="*/ 202652 h 202652"/>
                <a:gd name="connsiteX7" fmla="*/ 56735 w 207171"/>
                <a:gd name="connsiteY7" fmla="*/ 188712 h 202652"/>
                <a:gd name="connsiteX8" fmla="*/ 54184 w 207171"/>
                <a:gd name="connsiteY8" fmla="*/ 188489 h 202652"/>
                <a:gd name="connsiteX9" fmla="*/ 41530 w 207171"/>
                <a:gd name="connsiteY9" fmla="*/ 178879 h 202652"/>
                <a:gd name="connsiteX10" fmla="*/ 44562 w 207171"/>
                <a:gd name="connsiteY10" fmla="*/ 167478 h 202652"/>
                <a:gd name="connsiteX11" fmla="*/ 59779 w 207171"/>
                <a:gd name="connsiteY11" fmla="*/ 128196 h 202652"/>
                <a:gd name="connsiteX12" fmla="*/ 129706 w 207171"/>
                <a:gd name="connsiteY12" fmla="*/ 128196 h 202652"/>
                <a:gd name="connsiteX13" fmla="*/ 144923 w 207171"/>
                <a:gd name="connsiteY13" fmla="*/ 167385 h 202652"/>
                <a:gd name="connsiteX14" fmla="*/ 148844 w 207171"/>
                <a:gd name="connsiteY14" fmla="*/ 179734 h 202652"/>
                <a:gd name="connsiteX15" fmla="*/ 148937 w 207171"/>
                <a:gd name="connsiteY15" fmla="*/ 180202 h 202652"/>
                <a:gd name="connsiteX16" fmla="*/ 147896 w 207171"/>
                <a:gd name="connsiteY16" fmla="*/ 184802 h 202652"/>
                <a:gd name="connsiteX17" fmla="*/ 136577 w 207171"/>
                <a:gd name="connsiteY17" fmla="*/ 188243 h 202652"/>
                <a:gd name="connsiteX18" fmla="*/ 134002 w 207171"/>
                <a:gd name="connsiteY18" fmla="*/ 188442 h 202652"/>
                <a:gd name="connsiteX19" fmla="*/ 134002 w 207171"/>
                <a:gd name="connsiteY19" fmla="*/ 202606 h 202652"/>
                <a:gd name="connsiteX20" fmla="*/ 207171 w 207171"/>
                <a:gd name="connsiteY20" fmla="*/ 202606 h 202652"/>
                <a:gd name="connsiteX21" fmla="*/ 207171 w 207171"/>
                <a:gd name="connsiteY21" fmla="*/ 188700 h 202652"/>
                <a:gd name="connsiteX22" fmla="*/ 204502 w 207171"/>
                <a:gd name="connsiteY22" fmla="*/ 188559 h 202652"/>
                <a:gd name="connsiteX23" fmla="*/ 184603 w 207171"/>
                <a:gd name="connsiteY23" fmla="*/ 167759 h 202652"/>
                <a:gd name="connsiteX24" fmla="*/ 121641 w 207171"/>
                <a:gd name="connsiteY24" fmla="*/ 107161 h 202652"/>
                <a:gd name="connsiteX25" fmla="*/ 67797 w 207171"/>
                <a:gd name="connsiteY25" fmla="*/ 107161 h 202652"/>
                <a:gd name="connsiteX26" fmla="*/ 95140 w 207171"/>
                <a:gd name="connsiteY26" fmla="*/ 37012 h 2026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207171" h="202652">
                  <a:moveTo>
                    <a:pt x="121430" y="0"/>
                  </a:moveTo>
                  <a:lnTo>
                    <a:pt x="90762" y="0"/>
                  </a:lnTo>
                  <a:lnTo>
                    <a:pt x="24979" y="164529"/>
                  </a:lnTo>
                  <a:cubicBezTo>
                    <a:pt x="17172" y="183994"/>
                    <a:pt x="15755" y="187506"/>
                    <a:pt x="2610" y="188431"/>
                  </a:cubicBezTo>
                  <a:lnTo>
                    <a:pt x="0" y="188606"/>
                  </a:lnTo>
                  <a:lnTo>
                    <a:pt x="0" y="202652"/>
                  </a:lnTo>
                  <a:lnTo>
                    <a:pt x="56735" y="202652"/>
                  </a:lnTo>
                  <a:lnTo>
                    <a:pt x="56735" y="188712"/>
                  </a:lnTo>
                  <a:lnTo>
                    <a:pt x="54184" y="188489"/>
                  </a:lnTo>
                  <a:cubicBezTo>
                    <a:pt x="43649" y="187319"/>
                    <a:pt x="41202" y="183315"/>
                    <a:pt x="41530" y="178879"/>
                  </a:cubicBezTo>
                  <a:cubicBezTo>
                    <a:pt x="41741" y="176105"/>
                    <a:pt x="42572" y="172839"/>
                    <a:pt x="44562" y="167478"/>
                  </a:cubicBezTo>
                  <a:lnTo>
                    <a:pt x="59779" y="128196"/>
                  </a:lnTo>
                  <a:lnTo>
                    <a:pt x="129706" y="128196"/>
                  </a:lnTo>
                  <a:lnTo>
                    <a:pt x="144923" y="167385"/>
                  </a:lnTo>
                  <a:cubicBezTo>
                    <a:pt x="147369" y="174326"/>
                    <a:pt x="147907" y="175672"/>
                    <a:pt x="148844" y="179734"/>
                  </a:cubicBezTo>
                  <a:lnTo>
                    <a:pt x="148937" y="180202"/>
                  </a:lnTo>
                  <a:cubicBezTo>
                    <a:pt x="149324" y="181814"/>
                    <a:pt x="148939" y="183513"/>
                    <a:pt x="147896" y="184802"/>
                  </a:cubicBezTo>
                  <a:cubicBezTo>
                    <a:pt x="146421" y="186651"/>
                    <a:pt x="142780" y="187763"/>
                    <a:pt x="136577" y="188243"/>
                  </a:cubicBezTo>
                  <a:lnTo>
                    <a:pt x="134002" y="188442"/>
                  </a:lnTo>
                  <a:lnTo>
                    <a:pt x="134002" y="202606"/>
                  </a:lnTo>
                  <a:lnTo>
                    <a:pt x="207171" y="202606"/>
                  </a:lnTo>
                  <a:lnTo>
                    <a:pt x="207171" y="188700"/>
                  </a:lnTo>
                  <a:lnTo>
                    <a:pt x="204502" y="188559"/>
                  </a:lnTo>
                  <a:cubicBezTo>
                    <a:pt x="191989" y="187986"/>
                    <a:pt x="190854" y="184896"/>
                    <a:pt x="184603" y="167759"/>
                  </a:cubicBezTo>
                  <a:close/>
                  <a:moveTo>
                    <a:pt x="121641" y="107161"/>
                  </a:moveTo>
                  <a:lnTo>
                    <a:pt x="67797" y="107161"/>
                  </a:lnTo>
                  <a:lnTo>
                    <a:pt x="95140" y="37012"/>
                  </a:lnTo>
                  <a:close/>
                </a:path>
              </a:pathLst>
            </a:custGeom>
            <a:solidFill>
              <a:srgbClr val="000000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22" name="Freihandform: Form 21">
              <a:extLst>
                <a:ext uri="{FF2B5EF4-FFF2-40B4-BE49-F238E27FC236}">
                  <a16:creationId xmlns:a16="http://schemas.microsoft.com/office/drawing/2014/main" id="{B721F457-0511-4347-8216-E79FBCCE4593}"/>
                </a:ext>
              </a:extLst>
            </p:cNvPr>
            <p:cNvSpPr/>
            <p:nvPr/>
          </p:nvSpPr>
          <p:spPr>
            <a:xfrm>
              <a:off x="11256925" y="330434"/>
              <a:ext cx="218794" cy="212964"/>
            </a:xfrm>
            <a:custGeom>
              <a:avLst/>
              <a:gdLst>
                <a:gd name="connsiteX0" fmla="*/ 109397 w 218794"/>
                <a:gd name="connsiteY0" fmla="*/ 0 h 212964"/>
                <a:gd name="connsiteX1" fmla="*/ 0 w 218794"/>
                <a:gd name="connsiteY1" fmla="*/ 111878 h 212964"/>
                <a:gd name="connsiteX2" fmla="*/ 108227 w 218794"/>
                <a:gd name="connsiteY2" fmla="*/ 212965 h 212964"/>
                <a:gd name="connsiteX3" fmla="*/ 218794 w 218794"/>
                <a:gd name="connsiteY3" fmla="*/ 102994 h 212964"/>
                <a:gd name="connsiteX4" fmla="*/ 109397 w 218794"/>
                <a:gd name="connsiteY4" fmla="*/ 0 h 212964"/>
                <a:gd name="connsiteX5" fmla="*/ 177861 w 218794"/>
                <a:gd name="connsiteY5" fmla="*/ 110919 h 212964"/>
                <a:gd name="connsiteX6" fmla="*/ 112897 w 218794"/>
                <a:gd name="connsiteY6" fmla="*/ 197210 h 212964"/>
                <a:gd name="connsiteX7" fmla="*/ 40945 w 218794"/>
                <a:gd name="connsiteY7" fmla="*/ 103310 h 212964"/>
                <a:gd name="connsiteX8" fmla="*/ 107056 w 218794"/>
                <a:gd name="connsiteY8" fmla="*/ 15744 h 212964"/>
                <a:gd name="connsiteX9" fmla="*/ 177861 w 218794"/>
                <a:gd name="connsiteY9" fmla="*/ 110919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18794" h="212964">
                  <a:moveTo>
                    <a:pt x="109397" y="0"/>
                  </a:moveTo>
                  <a:cubicBezTo>
                    <a:pt x="45966" y="0"/>
                    <a:pt x="0" y="47043"/>
                    <a:pt x="0" y="111878"/>
                  </a:cubicBezTo>
                  <a:cubicBezTo>
                    <a:pt x="0" y="170405"/>
                    <a:pt x="45522" y="212965"/>
                    <a:pt x="108227" y="212965"/>
                  </a:cubicBezTo>
                  <a:cubicBezTo>
                    <a:pt x="171259" y="212965"/>
                    <a:pt x="218794" y="165687"/>
                    <a:pt x="218794" y="102994"/>
                  </a:cubicBezTo>
                  <a:cubicBezTo>
                    <a:pt x="218794" y="42349"/>
                    <a:pt x="173811" y="0"/>
                    <a:pt x="109397" y="0"/>
                  </a:cubicBezTo>
                  <a:close/>
                  <a:moveTo>
                    <a:pt x="177861" y="110919"/>
                  </a:moveTo>
                  <a:cubicBezTo>
                    <a:pt x="177861" y="162539"/>
                    <a:pt x="151758" y="197210"/>
                    <a:pt x="112897" y="197210"/>
                  </a:cubicBezTo>
                  <a:cubicBezTo>
                    <a:pt x="77138" y="197210"/>
                    <a:pt x="40945" y="164950"/>
                    <a:pt x="40945" y="103310"/>
                  </a:cubicBezTo>
                  <a:cubicBezTo>
                    <a:pt x="40945" y="49302"/>
                    <a:pt x="66275" y="15744"/>
                    <a:pt x="107056" y="15744"/>
                  </a:cubicBezTo>
                  <a:cubicBezTo>
                    <a:pt x="148738" y="15744"/>
                    <a:pt x="177861" y="54886"/>
                    <a:pt x="177861" y="110919"/>
                  </a:cubicBezTo>
                  <a:close/>
                </a:path>
              </a:pathLst>
            </a:custGeom>
            <a:solidFill>
              <a:srgbClr val="000000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23" name="Freihandform: Form 22">
              <a:extLst>
                <a:ext uri="{FF2B5EF4-FFF2-40B4-BE49-F238E27FC236}">
                  <a16:creationId xmlns:a16="http://schemas.microsoft.com/office/drawing/2014/main" id="{C2D950D4-FA38-4157-9338-BF72C038BB7E}"/>
                </a:ext>
              </a:extLst>
            </p:cNvPr>
            <p:cNvSpPr/>
            <p:nvPr/>
          </p:nvSpPr>
          <p:spPr>
            <a:xfrm>
              <a:off x="11045727" y="330434"/>
              <a:ext cx="196811" cy="212964"/>
            </a:xfrm>
            <a:custGeom>
              <a:avLst/>
              <a:gdLst>
                <a:gd name="connsiteX0" fmla="*/ 196812 w 196811"/>
                <a:gd name="connsiteY0" fmla="*/ 165348 h 212964"/>
                <a:gd name="connsiteX1" fmla="*/ 180635 w 196811"/>
                <a:gd name="connsiteY1" fmla="*/ 165547 h 212964"/>
                <a:gd name="connsiteX2" fmla="*/ 179828 w 196811"/>
                <a:gd name="connsiteY2" fmla="*/ 166659 h 212964"/>
                <a:gd name="connsiteX3" fmla="*/ 118960 w 196811"/>
                <a:gd name="connsiteY3" fmla="*/ 195922 h 212964"/>
                <a:gd name="connsiteX4" fmla="*/ 70255 w 196811"/>
                <a:gd name="connsiteY4" fmla="*/ 176585 h 212964"/>
                <a:gd name="connsiteX5" fmla="*/ 41729 w 196811"/>
                <a:gd name="connsiteY5" fmla="*/ 102023 h 212964"/>
                <a:gd name="connsiteX6" fmla="*/ 113623 w 196811"/>
                <a:gd name="connsiteY6" fmla="*/ 15720 h 212964"/>
                <a:gd name="connsiteX7" fmla="*/ 179359 w 196811"/>
                <a:gd name="connsiteY7" fmla="*/ 50391 h 212964"/>
                <a:gd name="connsiteX8" fmla="*/ 180155 w 196811"/>
                <a:gd name="connsiteY8" fmla="*/ 51959 h 212964"/>
                <a:gd name="connsiteX9" fmla="*/ 193558 w 196811"/>
                <a:gd name="connsiteY9" fmla="*/ 51749 h 212964"/>
                <a:gd name="connsiteX10" fmla="*/ 192259 w 196811"/>
                <a:gd name="connsiteY10" fmla="*/ 9142 h 212964"/>
                <a:gd name="connsiteX11" fmla="*/ 181267 w 196811"/>
                <a:gd name="connsiteY11" fmla="*/ 9142 h 212964"/>
                <a:gd name="connsiteX12" fmla="*/ 180694 w 196811"/>
                <a:gd name="connsiteY12" fmla="*/ 9528 h 212964"/>
                <a:gd name="connsiteX13" fmla="*/ 176515 w 196811"/>
                <a:gd name="connsiteY13" fmla="*/ 10453 h 212964"/>
                <a:gd name="connsiteX14" fmla="*/ 163768 w 196811"/>
                <a:gd name="connsiteY14" fmla="*/ 7761 h 212964"/>
                <a:gd name="connsiteX15" fmla="*/ 112441 w 196811"/>
                <a:gd name="connsiteY15" fmla="*/ 0 h 212964"/>
                <a:gd name="connsiteX16" fmla="*/ 0 w 196811"/>
                <a:gd name="connsiteY16" fmla="*/ 110275 h 212964"/>
                <a:gd name="connsiteX17" fmla="*/ 110029 w 196811"/>
                <a:gd name="connsiteY17" fmla="*/ 212965 h 212964"/>
                <a:gd name="connsiteX18" fmla="*/ 149382 w 196811"/>
                <a:gd name="connsiteY18" fmla="*/ 208411 h 212964"/>
                <a:gd name="connsiteX19" fmla="*/ 169808 w 196811"/>
                <a:gd name="connsiteY19" fmla="*/ 205661 h 212964"/>
                <a:gd name="connsiteX20" fmla="*/ 172804 w 196811"/>
                <a:gd name="connsiteY20" fmla="*/ 205567 h 212964"/>
                <a:gd name="connsiteX21" fmla="*/ 179406 w 196811"/>
                <a:gd name="connsiteY21" fmla="*/ 205719 h 212964"/>
                <a:gd name="connsiteX22" fmla="*/ 182414 w 196811"/>
                <a:gd name="connsiteY22" fmla="*/ 206012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96811" h="212964">
                  <a:moveTo>
                    <a:pt x="196812" y="165348"/>
                  </a:moveTo>
                  <a:lnTo>
                    <a:pt x="180635" y="165547"/>
                  </a:lnTo>
                  <a:lnTo>
                    <a:pt x="179828" y="166659"/>
                  </a:lnTo>
                  <a:cubicBezTo>
                    <a:pt x="163440" y="186839"/>
                    <a:pt x="146315" y="195044"/>
                    <a:pt x="118960" y="195922"/>
                  </a:cubicBezTo>
                  <a:cubicBezTo>
                    <a:pt x="100712" y="196577"/>
                    <a:pt x="83927" y="189824"/>
                    <a:pt x="70255" y="176585"/>
                  </a:cubicBezTo>
                  <a:cubicBezTo>
                    <a:pt x="52123" y="159027"/>
                    <a:pt x="41729" y="131859"/>
                    <a:pt x="41729" y="102023"/>
                  </a:cubicBezTo>
                  <a:cubicBezTo>
                    <a:pt x="41729" y="50403"/>
                    <a:pt x="70618" y="15720"/>
                    <a:pt x="113623" y="15720"/>
                  </a:cubicBezTo>
                  <a:cubicBezTo>
                    <a:pt x="143799" y="15720"/>
                    <a:pt x="168989" y="28994"/>
                    <a:pt x="179359" y="50391"/>
                  </a:cubicBezTo>
                  <a:lnTo>
                    <a:pt x="180155" y="51959"/>
                  </a:lnTo>
                  <a:lnTo>
                    <a:pt x="193558" y="51749"/>
                  </a:lnTo>
                  <a:lnTo>
                    <a:pt x="192259" y="9142"/>
                  </a:lnTo>
                  <a:lnTo>
                    <a:pt x="181267" y="9142"/>
                  </a:lnTo>
                  <a:lnTo>
                    <a:pt x="180694" y="9528"/>
                  </a:lnTo>
                  <a:cubicBezTo>
                    <a:pt x="179431" y="10264"/>
                    <a:pt x="177970" y="10587"/>
                    <a:pt x="176515" y="10453"/>
                  </a:cubicBezTo>
                  <a:cubicBezTo>
                    <a:pt x="173928" y="10359"/>
                    <a:pt x="169492" y="9282"/>
                    <a:pt x="163768" y="7761"/>
                  </a:cubicBezTo>
                  <a:cubicBezTo>
                    <a:pt x="152039" y="4682"/>
                    <a:pt x="134259" y="0"/>
                    <a:pt x="112441" y="0"/>
                  </a:cubicBezTo>
                  <a:cubicBezTo>
                    <a:pt x="34765" y="0"/>
                    <a:pt x="0" y="55377"/>
                    <a:pt x="0" y="110275"/>
                  </a:cubicBezTo>
                  <a:cubicBezTo>
                    <a:pt x="0" y="172652"/>
                    <a:pt x="43192" y="212965"/>
                    <a:pt x="110029" y="212965"/>
                  </a:cubicBezTo>
                  <a:cubicBezTo>
                    <a:pt x="124965" y="212965"/>
                    <a:pt x="138461" y="210448"/>
                    <a:pt x="149382" y="208411"/>
                  </a:cubicBezTo>
                  <a:cubicBezTo>
                    <a:pt x="156745" y="207030"/>
                    <a:pt x="163838" y="205789"/>
                    <a:pt x="169808" y="205661"/>
                  </a:cubicBezTo>
                  <a:cubicBezTo>
                    <a:pt x="171119" y="205661"/>
                    <a:pt x="172032" y="205661"/>
                    <a:pt x="172804" y="205567"/>
                  </a:cubicBezTo>
                  <a:cubicBezTo>
                    <a:pt x="175006" y="205507"/>
                    <a:pt x="177209" y="205558"/>
                    <a:pt x="179406" y="205719"/>
                  </a:cubicBezTo>
                  <a:lnTo>
                    <a:pt x="182414" y="206012"/>
                  </a:lnTo>
                  <a:close/>
                </a:path>
              </a:pathLst>
            </a:custGeom>
            <a:solidFill>
              <a:srgbClr val="000000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99490118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CD02088F-94BE-EF40-22C7-1A03D3875DF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1" imgH="411" progId="TCLayout.ActiveDocument.1">
                  <p:embed/>
                </p:oleObj>
              </mc:Choice>
              <mc:Fallback>
                <p:oleObj name="think-cell Slide" r:id="rId3" imgW="411" imgH="411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CD02088F-94BE-EF40-22C7-1A03D3875DF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C40E9F1B-B387-DA38-62A6-B2423B8108F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8800" y="370800"/>
            <a:ext cx="9511200" cy="216000"/>
          </a:xfrm>
        </p:spPr>
        <p:txBody>
          <a:bodyPr anchor="b" anchorCtr="0"/>
          <a:lstStyle>
            <a:lvl1pPr rtl="0">
              <a:defRPr cap="all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/>
              <a:t>Kapitelüberschrift einfüge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3EA6945-62CE-8B8B-5CE8-1BC62F3483A4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de-DE"/>
              <a:t>August 2023</a:t>
            </a:r>
            <a:endParaRPr lang="en-GB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AE26D5F3-09AA-6FDF-E475-88C87D3A95B4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GB"/>
              <a:t>Senacor  |  Deutsche Bank  |  Request for Proposal – Miles &amp; More // Mobile app solution development </a:t>
            </a:r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38B9019E-98A3-952D-98FB-6EC15B672F0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 rtl="0">
              <a:defRPr/>
            </a:lvl1pPr>
          </a:lstStyle>
          <a:p>
            <a:fld id="{E63DBB63-5C76-DA40-949C-F00FB53C9B50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9" name="Titel 8">
            <a:extLst>
              <a:ext uri="{FF2B5EF4-FFF2-40B4-BE49-F238E27FC236}">
                <a16:creationId xmlns:a16="http://schemas.microsoft.com/office/drawing/2014/main" id="{B9C6B567-A3DD-383B-5D53-39816E68874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720000"/>
            <a:ext cx="11233150" cy="609398"/>
          </a:xfrm>
        </p:spPr>
        <p:txBody>
          <a:bodyPr vert="horz">
            <a:noAutofit/>
          </a:bodyPr>
          <a:lstStyle>
            <a:lvl1pPr rtl="0">
              <a:defRPr/>
            </a:lvl1pPr>
          </a:lstStyle>
          <a:p>
            <a:r>
              <a:rPr lang="en-GB"/>
              <a:t>Mastertitel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98699860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OnePager_Kundenanony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2"/>
          <p:cNvSpPr>
            <a:spLocks noGrp="1" noChangeAspect="1"/>
          </p:cNvSpPr>
          <p:nvPr>
            <p:ph type="pic" sz="quarter" idx="16"/>
          </p:nvPr>
        </p:nvSpPr>
        <p:spPr>
          <a:xfrm>
            <a:off x="479425" y="1776413"/>
            <a:ext cx="1682750" cy="2057400"/>
          </a:xfrm>
        </p:spPr>
        <p:txBody>
          <a:bodyPr/>
          <a:lstStyle/>
          <a:p>
            <a:endParaRPr lang="de-DE"/>
          </a:p>
        </p:txBody>
      </p:sp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1FD5C9B0-1B07-4EBC-906A-D849907DEDC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1FD5C9B0-1B07-4EBC-906A-D849907DED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61F9098E-7D0E-4766-9BC5-644ACA3F13E5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635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rtl="0"/>
            <a:endParaRPr lang="en-GB" sz="2200" b="1" i="0" baseline="0">
              <a:solidFill>
                <a:schemeClr val="tx1"/>
              </a:solidFill>
              <a:latin typeface="Arial" panose="020B0604020202020204" pitchFamily="34" charset="0"/>
              <a:ea typeface="Malgun Gothic Semilight" panose="020B0502040204020203" pitchFamily="34" charset="-128"/>
              <a:cs typeface="Malgun Gothic Semilight" panose="020B0502040204020203" pitchFamily="34" charset="-128"/>
              <a:sym typeface="Arial" panose="020B0604020202020204" pitchFamily="34" charset="0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34E8994-30E7-42C9-8B97-D389F537197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87541" y="6633547"/>
            <a:ext cx="125034" cy="123111"/>
          </a:xfrm>
          <a:prstGeom prst="rect">
            <a:avLst/>
          </a:prstGeom>
        </p:spPr>
        <p:txBody>
          <a:bodyPr/>
          <a:lstStyle>
            <a:lvl1pPr algn="r" rtl="0">
              <a:defRPr/>
            </a:lvl1pPr>
          </a:lstStyle>
          <a:p>
            <a:fld id="{C50CBA42-791E-4851-9FB4-39A223136DC3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5" name="Textplatzhalter 14">
            <a:extLst>
              <a:ext uri="{FF2B5EF4-FFF2-40B4-BE49-F238E27FC236}">
                <a16:creationId xmlns:a16="http://schemas.microsoft.com/office/drawing/2014/main" id="{BB8EC43E-B232-4253-AFDF-4EF8A3B5B7F1}"/>
              </a:ext>
            </a:extLst>
          </p:cNvPr>
          <p:cNvSpPr>
            <a:spLocks noGrp="1" noChangeAspect="1"/>
          </p:cNvSpPr>
          <p:nvPr>
            <p:ph type="body" sz="quarter" idx="15" hasCustomPrompt="1"/>
          </p:nvPr>
        </p:nvSpPr>
        <p:spPr>
          <a:xfrm>
            <a:off x="479424" y="340366"/>
            <a:ext cx="9509760" cy="246221"/>
          </a:xfrm>
          <a:prstGeom prst="rect">
            <a:avLst/>
          </a:prstGeom>
        </p:spPr>
        <p:txBody>
          <a:bodyPr wrap="square" lIns="0" tIns="0" rIns="0" bIns="0" anchor="b" anchorCtr="0"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/>
              <a:t>Position</a:t>
            </a:r>
          </a:p>
        </p:txBody>
      </p:sp>
      <p:sp>
        <p:nvSpPr>
          <p:cNvPr id="11" name="Fußzeilenplatzhalter 2">
            <a:extLst>
              <a:ext uri="{FF2B5EF4-FFF2-40B4-BE49-F238E27FC236}">
                <a16:creationId xmlns:a16="http://schemas.microsoft.com/office/drawing/2014/main" id="{53712EDA-C950-4774-86F3-2E0D9426DA8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 flipH="1">
            <a:off x="479423" y="6602770"/>
            <a:ext cx="7246798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rtl="0">
              <a:defRPr lang="de-DE" sz="1000">
                <a:solidFill>
                  <a:schemeClr val="tx2"/>
                </a:solidFill>
              </a:defRPr>
            </a:lvl1pPr>
          </a:lstStyle>
          <a:p>
            <a:r>
              <a:rPr lang="en-GB"/>
              <a:t>Senacor  |  Deutsche Bank  |  Request for Proposal – Miles &amp; More // Mobile app solution development </a:t>
            </a:r>
          </a:p>
        </p:txBody>
      </p:sp>
      <p:sp>
        <p:nvSpPr>
          <p:cNvPr id="13" name="Datumsplatzhalter 3">
            <a:extLst>
              <a:ext uri="{FF2B5EF4-FFF2-40B4-BE49-F238E27FC236}">
                <a16:creationId xmlns:a16="http://schemas.microsoft.com/office/drawing/2014/main" id="{E2709764-A7CF-4295-A6F3-483CF39D9D3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718884" y="6602770"/>
            <a:ext cx="713337" cy="153888"/>
          </a:xfrm>
          <a:prstGeom prst="rect">
            <a:avLst/>
          </a:prstGeom>
        </p:spPr>
        <p:txBody>
          <a:bodyPr vert="horz" wrap="none" lIns="0" tIns="0" rIns="0" bIns="0" rtlCol="0" anchor="b">
            <a:spAutoFit/>
          </a:bodyPr>
          <a:lstStyle>
            <a:lvl1pPr algn="r" rtl="0">
              <a:defRPr sz="1000">
                <a:solidFill>
                  <a:schemeClr val="tx2"/>
                </a:solidFill>
              </a:defRPr>
            </a:lvl1pPr>
          </a:lstStyle>
          <a:p>
            <a:r>
              <a:rPr lang="de-DE"/>
              <a:t>August 2023</a:t>
            </a:r>
            <a:endParaRPr lang="en-GB"/>
          </a:p>
        </p:txBody>
      </p:sp>
      <p:cxnSp>
        <p:nvCxnSpPr>
          <p:cNvPr id="15" name="Straight Connector 15">
            <a:extLst>
              <a:ext uri="{FF2B5EF4-FFF2-40B4-BE49-F238E27FC236}">
                <a16:creationId xmlns:a16="http://schemas.microsoft.com/office/drawing/2014/main" id="{B13A4255-EEA6-4636-81FA-535E3614DAF8}"/>
              </a:ext>
            </a:extLst>
          </p:cNvPr>
          <p:cNvCxnSpPr/>
          <p:nvPr userDrawn="1"/>
        </p:nvCxnSpPr>
        <p:spPr>
          <a:xfrm>
            <a:off x="6095999" y="1775816"/>
            <a:ext cx="0" cy="4507992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itel 25"/>
          <p:cNvSpPr>
            <a:spLocks noGrp="1"/>
          </p:cNvSpPr>
          <p:nvPr>
            <p:ph type="title" hasCustomPrompt="1"/>
          </p:nvPr>
        </p:nvSpPr>
        <p:spPr>
          <a:xfrm>
            <a:off x="479425" y="720000"/>
            <a:ext cx="11233150" cy="609398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GB"/>
              <a:t>Vorname Nachname</a:t>
            </a:r>
          </a:p>
        </p:txBody>
      </p:sp>
    </p:spTree>
    <p:extLst>
      <p:ext uri="{BB962C8B-B14F-4D97-AF65-F5344CB8AC3E}">
        <p14:creationId xmlns:p14="http://schemas.microsoft.com/office/powerpoint/2010/main" val="86738693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GS-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/>
        <p:txBody>
          <a:bodyPr vert="horz"/>
          <a:lstStyle>
            <a:lvl1pPr rtl="0">
              <a:defRPr/>
            </a:lvl1pPr>
          </a:lstStyle>
          <a:p>
            <a:r>
              <a:rPr lang="en-GB"/>
              <a:t>Titel durch Klicken bearbeiten</a:t>
            </a:r>
          </a:p>
        </p:txBody>
      </p:sp>
      <p:graphicFrame>
        <p:nvGraphicFramePr>
          <p:cNvPr id="27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1" imgH="381" progId="TCLayout.ActiveDocument.1">
                  <p:embed/>
                </p:oleObj>
              </mc:Choice>
              <mc:Fallback>
                <p:oleObj name="think-cell Slide" r:id="rId3" imgW="381" imgH="381" progId="TCLayout.ActiveDocument.1">
                  <p:embed/>
                  <p:pic>
                    <p:nvPicPr>
                      <p:cNvPr id="27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3" name="Foliennummernplatzhalter 3"/>
          <p:cNvSpPr>
            <a:spLocks noGrp="1"/>
          </p:cNvSpPr>
          <p:nvPr>
            <p:ph type="sldNum" sz="quarter" idx="11"/>
          </p:nvPr>
        </p:nvSpPr>
        <p:spPr bwMode="gray">
          <a:xfrm>
            <a:off x="11602913" y="6380289"/>
            <a:ext cx="125034" cy="123111"/>
          </a:xfrm>
        </p:spPr>
        <p:txBody>
          <a:bodyPr/>
          <a:lstStyle>
            <a:lvl1pPr rtl="0">
              <a:defRPr/>
            </a:lvl1pPr>
          </a:lstStyle>
          <a:p>
            <a:fld id="{BCEE9B3D-5DF5-477A-AC02-603DE0722B4F}" type="slidenum">
              <a:rPr lang="en-GB" smtClean="0">
                <a:solidFill>
                  <a:prstClr val="black"/>
                </a:solidFill>
              </a:rPr>
              <a:pPr/>
              <a:t>‹#›</a:t>
            </a:fld>
            <a:endParaRPr lang="en-GB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2919663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F03889B5-5769-4D31-B1F9-4724D3A628C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F03889B5-5769-4D31-B1F9-4724D3A628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>
            <a:extLst>
              <a:ext uri="{FF2B5EF4-FFF2-40B4-BE49-F238E27FC236}">
                <a16:creationId xmlns:a16="http://schemas.microsoft.com/office/drawing/2014/main" id="{7E9E9310-804D-43C9-A137-B7D9C63A9A10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rtl="0"/>
            <a:endParaRPr lang="en-GB" sz="3600" b="1" i="0" baseline="0">
              <a:latin typeface="Arial" panose="020B0604020202020204" pitchFamily="34" charset="0"/>
              <a:ea typeface="Malgun Gothic Semilight" panose="020B0502040204020203" pitchFamily="34" charset="-128"/>
              <a:cs typeface="Malgun Gothic Semilight" panose="020B0502040204020203" pitchFamily="34" charset="-128"/>
              <a:sym typeface="Arial" panose="020B0604020202020204" pitchFamily="34" charset="0"/>
            </a:endParaRPr>
          </a:p>
        </p:txBody>
      </p:sp>
      <p:grpSp>
        <p:nvGrpSpPr>
          <p:cNvPr id="2" name="Grafik 24">
            <a:extLst>
              <a:ext uri="{FF2B5EF4-FFF2-40B4-BE49-F238E27FC236}">
                <a16:creationId xmlns:a16="http://schemas.microsoft.com/office/drawing/2014/main" id="{F9DBE55D-20E2-46D2-82B7-BD007C0044E4}"/>
              </a:ext>
            </a:extLst>
          </p:cNvPr>
          <p:cNvGrpSpPr/>
          <p:nvPr/>
        </p:nvGrpSpPr>
        <p:grpSpPr>
          <a:xfrm>
            <a:off x="9320362" y="330434"/>
            <a:ext cx="2392460" cy="345976"/>
            <a:chOff x="9320362" y="330434"/>
            <a:chExt cx="2392460" cy="345976"/>
          </a:xfrm>
          <a:solidFill>
            <a:srgbClr val="000000"/>
          </a:solidFill>
        </p:grpSpPr>
        <p:sp>
          <p:nvSpPr>
            <p:cNvPr id="3" name="Freihandform: Form 2">
              <a:extLst>
                <a:ext uri="{FF2B5EF4-FFF2-40B4-BE49-F238E27FC236}">
                  <a16:creationId xmlns:a16="http://schemas.microsoft.com/office/drawing/2014/main" id="{E3314D65-ED26-4F96-97E8-A526C2644736}"/>
                </a:ext>
              </a:extLst>
            </p:cNvPr>
            <p:cNvSpPr/>
            <p:nvPr/>
          </p:nvSpPr>
          <p:spPr>
            <a:xfrm>
              <a:off x="9908583" y="339029"/>
              <a:ext cx="347574" cy="332589"/>
            </a:xfrm>
            <a:custGeom>
              <a:avLst/>
              <a:gdLst>
                <a:gd name="connsiteX0" fmla="*/ 260728 w 347574"/>
                <a:gd name="connsiteY0" fmla="*/ 23028 h 332589"/>
                <a:gd name="connsiteX1" fmla="*/ 265026 w 347574"/>
                <a:gd name="connsiteY1" fmla="*/ 23276 h 332589"/>
                <a:gd name="connsiteX2" fmla="*/ 287313 w 347574"/>
                <a:gd name="connsiteY2" fmla="*/ 58588 h 332589"/>
                <a:gd name="connsiteX3" fmla="*/ 287313 w 347574"/>
                <a:gd name="connsiteY3" fmla="*/ 235095 h 332589"/>
                <a:gd name="connsiteX4" fmla="*/ 80267 w 347574"/>
                <a:gd name="connsiteY4" fmla="*/ 0 h 332589"/>
                <a:gd name="connsiteX5" fmla="*/ 7854 w 347574"/>
                <a:gd name="connsiteY5" fmla="*/ 0 h 332589"/>
                <a:gd name="connsiteX6" fmla="*/ 7854 w 347574"/>
                <a:gd name="connsiteY6" fmla="*/ 22572 h 332589"/>
                <a:gd name="connsiteX7" fmla="*/ 11847 w 347574"/>
                <a:gd name="connsiteY7" fmla="*/ 22971 h 332589"/>
                <a:gd name="connsiteX8" fmla="*/ 27174 w 347574"/>
                <a:gd name="connsiteY8" fmla="*/ 34381 h 332589"/>
                <a:gd name="connsiteX9" fmla="*/ 27174 w 347574"/>
                <a:gd name="connsiteY9" fmla="*/ 267764 h 332589"/>
                <a:gd name="connsiteX10" fmla="*/ 4355 w 347574"/>
                <a:gd name="connsiteY10" fmla="*/ 306024 h 332589"/>
                <a:gd name="connsiteX11" fmla="*/ 0 w 347574"/>
                <a:gd name="connsiteY11" fmla="*/ 306253 h 332589"/>
                <a:gd name="connsiteX12" fmla="*/ 0 w 347574"/>
                <a:gd name="connsiteY12" fmla="*/ 329072 h 332589"/>
                <a:gd name="connsiteX13" fmla="*/ 88577 w 347574"/>
                <a:gd name="connsiteY13" fmla="*/ 329072 h 332589"/>
                <a:gd name="connsiteX14" fmla="*/ 88577 w 347574"/>
                <a:gd name="connsiteY14" fmla="*/ 306500 h 332589"/>
                <a:gd name="connsiteX15" fmla="*/ 84374 w 347574"/>
                <a:gd name="connsiteY15" fmla="*/ 306176 h 332589"/>
                <a:gd name="connsiteX16" fmla="*/ 62677 w 347574"/>
                <a:gd name="connsiteY16" fmla="*/ 263923 h 332589"/>
                <a:gd name="connsiteX17" fmla="*/ 62677 w 347574"/>
                <a:gd name="connsiteY17" fmla="*/ 74809 h 332589"/>
                <a:gd name="connsiteX18" fmla="*/ 288967 w 347574"/>
                <a:gd name="connsiteY18" fmla="*/ 331049 h 332589"/>
                <a:gd name="connsiteX19" fmla="*/ 290336 w 347574"/>
                <a:gd name="connsiteY19" fmla="*/ 332590 h 332589"/>
                <a:gd name="connsiteX20" fmla="*/ 322816 w 347574"/>
                <a:gd name="connsiteY20" fmla="*/ 332590 h 332589"/>
                <a:gd name="connsiteX21" fmla="*/ 322816 w 347574"/>
                <a:gd name="connsiteY21" fmla="*/ 63799 h 332589"/>
                <a:gd name="connsiteX22" fmla="*/ 343391 w 347574"/>
                <a:gd name="connsiteY22" fmla="*/ 23428 h 332589"/>
                <a:gd name="connsiteX23" fmla="*/ 347574 w 347574"/>
                <a:gd name="connsiteY23" fmla="*/ 23066 h 332589"/>
                <a:gd name="connsiteX24" fmla="*/ 347574 w 347574"/>
                <a:gd name="connsiteY24" fmla="*/ 0 h 332589"/>
                <a:gd name="connsiteX25" fmla="*/ 260728 w 347574"/>
                <a:gd name="connsiteY25" fmla="*/ 0 h 3325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347574" h="332589">
                  <a:moveTo>
                    <a:pt x="260728" y="23028"/>
                  </a:moveTo>
                  <a:lnTo>
                    <a:pt x="265026" y="23276"/>
                  </a:lnTo>
                  <a:cubicBezTo>
                    <a:pt x="287351" y="24550"/>
                    <a:pt x="287351" y="29094"/>
                    <a:pt x="287313" y="58588"/>
                  </a:cubicBezTo>
                  <a:lnTo>
                    <a:pt x="287313" y="235095"/>
                  </a:lnTo>
                  <a:lnTo>
                    <a:pt x="80267" y="0"/>
                  </a:lnTo>
                  <a:lnTo>
                    <a:pt x="7854" y="0"/>
                  </a:lnTo>
                  <a:lnTo>
                    <a:pt x="7854" y="22572"/>
                  </a:lnTo>
                  <a:lnTo>
                    <a:pt x="11847" y="22971"/>
                  </a:lnTo>
                  <a:cubicBezTo>
                    <a:pt x="23808" y="23789"/>
                    <a:pt x="26946" y="27782"/>
                    <a:pt x="27174" y="34381"/>
                  </a:cubicBezTo>
                  <a:lnTo>
                    <a:pt x="27174" y="267764"/>
                  </a:lnTo>
                  <a:cubicBezTo>
                    <a:pt x="27174" y="297106"/>
                    <a:pt x="27174" y="304978"/>
                    <a:pt x="4355" y="306024"/>
                  </a:cubicBezTo>
                  <a:lnTo>
                    <a:pt x="0" y="306253"/>
                  </a:lnTo>
                  <a:lnTo>
                    <a:pt x="0" y="329072"/>
                  </a:lnTo>
                  <a:lnTo>
                    <a:pt x="88577" y="329072"/>
                  </a:lnTo>
                  <a:lnTo>
                    <a:pt x="88577" y="306500"/>
                  </a:lnTo>
                  <a:lnTo>
                    <a:pt x="84374" y="306176"/>
                  </a:lnTo>
                  <a:cubicBezTo>
                    <a:pt x="62639" y="304484"/>
                    <a:pt x="62658" y="295908"/>
                    <a:pt x="62677" y="263923"/>
                  </a:cubicBezTo>
                  <a:lnTo>
                    <a:pt x="62677" y="74809"/>
                  </a:lnTo>
                  <a:lnTo>
                    <a:pt x="288967" y="331049"/>
                  </a:lnTo>
                  <a:lnTo>
                    <a:pt x="290336" y="332590"/>
                  </a:lnTo>
                  <a:lnTo>
                    <a:pt x="322816" y="332590"/>
                  </a:lnTo>
                  <a:lnTo>
                    <a:pt x="322816" y="63799"/>
                  </a:lnTo>
                  <a:cubicBezTo>
                    <a:pt x="322816" y="30996"/>
                    <a:pt x="324584" y="25215"/>
                    <a:pt x="343391" y="23428"/>
                  </a:cubicBezTo>
                  <a:lnTo>
                    <a:pt x="347574" y="23066"/>
                  </a:lnTo>
                  <a:lnTo>
                    <a:pt x="347574" y="0"/>
                  </a:lnTo>
                  <a:lnTo>
                    <a:pt x="260728" y="0"/>
                  </a:lnTo>
                  <a:close/>
                </a:path>
              </a:pathLst>
            </a:custGeom>
            <a:solidFill>
              <a:srgbClr val="000000"/>
            </a:solidFill>
            <a:ln w="190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4" name="Freihandform: Form 3">
              <a:extLst>
                <a:ext uri="{FF2B5EF4-FFF2-40B4-BE49-F238E27FC236}">
                  <a16:creationId xmlns:a16="http://schemas.microsoft.com/office/drawing/2014/main" id="{9ED508CF-86D0-4CCF-BBB2-F14A398BD931}"/>
                </a:ext>
              </a:extLst>
            </p:cNvPr>
            <p:cNvSpPr/>
            <p:nvPr/>
          </p:nvSpPr>
          <p:spPr>
            <a:xfrm>
              <a:off x="9320362" y="330434"/>
              <a:ext cx="243956" cy="345976"/>
            </a:xfrm>
            <a:custGeom>
              <a:avLst/>
              <a:gdLst>
                <a:gd name="connsiteX0" fmla="*/ 142829 w 243956"/>
                <a:gd name="connsiteY0" fmla="*/ 140148 h 345976"/>
                <a:gd name="connsiteX1" fmla="*/ 142829 w 243956"/>
                <a:gd name="connsiteY1" fmla="*/ 140148 h 345976"/>
                <a:gd name="connsiteX2" fmla="*/ 70359 w 243956"/>
                <a:gd name="connsiteY2" fmla="*/ 75189 h 345976"/>
                <a:gd name="connsiteX3" fmla="*/ 119287 w 243956"/>
                <a:gd name="connsiteY3" fmla="*/ 27744 h 345976"/>
                <a:gd name="connsiteX4" fmla="*/ 195351 w 243956"/>
                <a:gd name="connsiteY4" fmla="*/ 64559 h 345976"/>
                <a:gd name="connsiteX5" fmla="*/ 196625 w 243956"/>
                <a:gd name="connsiteY5" fmla="*/ 67145 h 345976"/>
                <a:gd name="connsiteX6" fmla="*/ 221118 w 243956"/>
                <a:gd name="connsiteY6" fmla="*/ 66879 h 345976"/>
                <a:gd name="connsiteX7" fmla="*/ 210526 w 243956"/>
                <a:gd name="connsiteY7" fmla="*/ 5001 h 345976"/>
                <a:gd name="connsiteX8" fmla="*/ 194990 w 243956"/>
                <a:gd name="connsiteY8" fmla="*/ 5001 h 345976"/>
                <a:gd name="connsiteX9" fmla="*/ 192594 w 243956"/>
                <a:gd name="connsiteY9" fmla="*/ 6085 h 345976"/>
                <a:gd name="connsiteX10" fmla="*/ 180291 w 243956"/>
                <a:gd name="connsiteY10" fmla="*/ 8747 h 345976"/>
                <a:gd name="connsiteX11" fmla="*/ 164793 w 243956"/>
                <a:gd name="connsiteY11" fmla="*/ 6180 h 345976"/>
                <a:gd name="connsiteX12" fmla="*/ 155646 w 243956"/>
                <a:gd name="connsiteY12" fmla="*/ 4279 h 345976"/>
                <a:gd name="connsiteX13" fmla="*/ 112765 w 243956"/>
                <a:gd name="connsiteY13" fmla="*/ 0 h 345976"/>
                <a:gd name="connsiteX14" fmla="*/ 8291 w 243956"/>
                <a:gd name="connsiteY14" fmla="*/ 89508 h 345976"/>
                <a:gd name="connsiteX15" fmla="*/ 103675 w 243956"/>
                <a:gd name="connsiteY15" fmla="*/ 190749 h 345976"/>
                <a:gd name="connsiteX16" fmla="*/ 180272 w 243956"/>
                <a:gd name="connsiteY16" fmla="*/ 263333 h 345976"/>
                <a:gd name="connsiteX17" fmla="*/ 117120 w 243956"/>
                <a:gd name="connsiteY17" fmla="*/ 315076 h 345976"/>
                <a:gd name="connsiteX18" fmla="*/ 24417 w 243956"/>
                <a:gd name="connsiteY18" fmla="*/ 271586 h 345976"/>
                <a:gd name="connsiteX19" fmla="*/ 23276 w 243956"/>
                <a:gd name="connsiteY19" fmla="*/ 268734 h 345976"/>
                <a:gd name="connsiteX20" fmla="*/ 0 w 243956"/>
                <a:gd name="connsiteY20" fmla="*/ 268734 h 345976"/>
                <a:gd name="connsiteX21" fmla="*/ 10345 w 243956"/>
                <a:gd name="connsiteY21" fmla="*/ 338371 h 345976"/>
                <a:gd name="connsiteX22" fmla="*/ 29133 w 243956"/>
                <a:gd name="connsiteY22" fmla="*/ 338371 h 345976"/>
                <a:gd name="connsiteX23" fmla="*/ 30445 w 243956"/>
                <a:gd name="connsiteY23" fmla="*/ 337115 h 345976"/>
                <a:gd name="connsiteX24" fmla="*/ 42235 w 243956"/>
                <a:gd name="connsiteY24" fmla="*/ 334491 h 345976"/>
                <a:gd name="connsiteX25" fmla="*/ 62372 w 243956"/>
                <a:gd name="connsiteY25" fmla="*/ 338085 h 345976"/>
                <a:gd name="connsiteX26" fmla="*/ 120942 w 243956"/>
                <a:gd name="connsiteY26" fmla="*/ 345977 h 345976"/>
                <a:gd name="connsiteX27" fmla="*/ 243956 w 243956"/>
                <a:gd name="connsiteY27" fmla="*/ 247988 h 345976"/>
                <a:gd name="connsiteX28" fmla="*/ 142848 w 243956"/>
                <a:gd name="connsiteY28" fmla="*/ 140148 h 3459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243956" h="345976">
                  <a:moveTo>
                    <a:pt x="142829" y="140148"/>
                  </a:moveTo>
                  <a:lnTo>
                    <a:pt x="142829" y="140148"/>
                  </a:lnTo>
                  <a:cubicBezTo>
                    <a:pt x="105558" y="121436"/>
                    <a:pt x="70359" y="103751"/>
                    <a:pt x="70359" y="75189"/>
                  </a:cubicBezTo>
                  <a:cubicBezTo>
                    <a:pt x="70359" y="56059"/>
                    <a:pt x="85914" y="27744"/>
                    <a:pt x="119287" y="27744"/>
                  </a:cubicBezTo>
                  <a:cubicBezTo>
                    <a:pt x="157814" y="27744"/>
                    <a:pt x="180823" y="38298"/>
                    <a:pt x="195351" y="64559"/>
                  </a:cubicBezTo>
                  <a:lnTo>
                    <a:pt x="196625" y="67145"/>
                  </a:lnTo>
                  <a:lnTo>
                    <a:pt x="221118" y="66879"/>
                  </a:lnTo>
                  <a:lnTo>
                    <a:pt x="210526" y="5001"/>
                  </a:lnTo>
                  <a:lnTo>
                    <a:pt x="194990" y="5001"/>
                  </a:lnTo>
                  <a:lnTo>
                    <a:pt x="192594" y="6085"/>
                  </a:lnTo>
                  <a:cubicBezTo>
                    <a:pt x="188783" y="7997"/>
                    <a:pt x="184551" y="8913"/>
                    <a:pt x="180291" y="8747"/>
                  </a:cubicBezTo>
                  <a:cubicBezTo>
                    <a:pt x="173825" y="8500"/>
                    <a:pt x="170973" y="7435"/>
                    <a:pt x="164793" y="6180"/>
                  </a:cubicBezTo>
                  <a:cubicBezTo>
                    <a:pt x="162168" y="5629"/>
                    <a:pt x="159259" y="4887"/>
                    <a:pt x="155646" y="4279"/>
                  </a:cubicBezTo>
                  <a:cubicBezTo>
                    <a:pt x="141528" y="1446"/>
                    <a:pt x="127164" y="13"/>
                    <a:pt x="112765" y="0"/>
                  </a:cubicBezTo>
                  <a:cubicBezTo>
                    <a:pt x="55146" y="0"/>
                    <a:pt x="8291" y="40143"/>
                    <a:pt x="8291" y="89508"/>
                  </a:cubicBezTo>
                  <a:cubicBezTo>
                    <a:pt x="8291" y="139463"/>
                    <a:pt x="56782" y="165572"/>
                    <a:pt x="103675" y="190749"/>
                  </a:cubicBezTo>
                  <a:cubicBezTo>
                    <a:pt x="143057" y="211933"/>
                    <a:pt x="180272" y="231995"/>
                    <a:pt x="180272" y="263333"/>
                  </a:cubicBezTo>
                  <a:cubicBezTo>
                    <a:pt x="180272" y="292827"/>
                    <a:pt x="153117" y="315076"/>
                    <a:pt x="117120" y="315076"/>
                  </a:cubicBezTo>
                  <a:cubicBezTo>
                    <a:pt x="67906" y="315076"/>
                    <a:pt x="37576" y="300833"/>
                    <a:pt x="24417" y="271586"/>
                  </a:cubicBezTo>
                  <a:lnTo>
                    <a:pt x="23276" y="268734"/>
                  </a:lnTo>
                  <a:lnTo>
                    <a:pt x="0" y="268734"/>
                  </a:lnTo>
                  <a:lnTo>
                    <a:pt x="10345" y="338371"/>
                  </a:lnTo>
                  <a:lnTo>
                    <a:pt x="29133" y="338371"/>
                  </a:lnTo>
                  <a:lnTo>
                    <a:pt x="30445" y="337115"/>
                  </a:lnTo>
                  <a:cubicBezTo>
                    <a:pt x="33240" y="334605"/>
                    <a:pt x="36720" y="334434"/>
                    <a:pt x="42235" y="334491"/>
                  </a:cubicBezTo>
                  <a:cubicBezTo>
                    <a:pt x="47749" y="334548"/>
                    <a:pt x="54120" y="336089"/>
                    <a:pt x="62372" y="338085"/>
                  </a:cubicBezTo>
                  <a:cubicBezTo>
                    <a:pt x="81479" y="343202"/>
                    <a:pt x="101162" y="345853"/>
                    <a:pt x="120942" y="345977"/>
                  </a:cubicBezTo>
                  <a:cubicBezTo>
                    <a:pt x="192233" y="345977"/>
                    <a:pt x="243956" y="304769"/>
                    <a:pt x="243956" y="247988"/>
                  </a:cubicBezTo>
                  <a:cubicBezTo>
                    <a:pt x="243956" y="191206"/>
                    <a:pt x="190160" y="163956"/>
                    <a:pt x="142848" y="140148"/>
                  </a:cubicBezTo>
                </a:path>
              </a:pathLst>
            </a:custGeom>
            <a:solidFill>
              <a:srgbClr val="000000"/>
            </a:solidFill>
            <a:ln w="190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5" name="Freihandform: Form 4">
              <a:extLst>
                <a:ext uri="{FF2B5EF4-FFF2-40B4-BE49-F238E27FC236}">
                  <a16:creationId xmlns:a16="http://schemas.microsoft.com/office/drawing/2014/main" id="{0E4A174D-1F39-4604-A5C6-48E726B8CD62}"/>
                </a:ext>
              </a:extLst>
            </p:cNvPr>
            <p:cNvSpPr/>
            <p:nvPr/>
          </p:nvSpPr>
          <p:spPr>
            <a:xfrm>
              <a:off x="9614881" y="339067"/>
              <a:ext cx="243328" cy="329090"/>
            </a:xfrm>
            <a:custGeom>
              <a:avLst/>
              <a:gdLst>
                <a:gd name="connsiteX0" fmla="*/ 16544 w 243328"/>
                <a:gd name="connsiteY0" fmla="*/ 287103 h 329090"/>
                <a:gd name="connsiteX1" fmla="*/ 4126 w 243328"/>
                <a:gd name="connsiteY1" fmla="*/ 305397 h 329090"/>
                <a:gd name="connsiteX2" fmla="*/ 0 w 243328"/>
                <a:gd name="connsiteY2" fmla="*/ 305796 h 329090"/>
                <a:gd name="connsiteX3" fmla="*/ 0 w 243328"/>
                <a:gd name="connsiteY3" fmla="*/ 329091 h 329090"/>
                <a:gd name="connsiteX4" fmla="*/ 235342 w 243328"/>
                <a:gd name="connsiteY4" fmla="*/ 329091 h 329090"/>
                <a:gd name="connsiteX5" fmla="*/ 243329 w 243328"/>
                <a:gd name="connsiteY5" fmla="*/ 263276 h 329090"/>
                <a:gd name="connsiteX6" fmla="*/ 218608 w 243328"/>
                <a:gd name="connsiteY6" fmla="*/ 263467 h 329090"/>
                <a:gd name="connsiteX7" fmla="*/ 217600 w 243328"/>
                <a:gd name="connsiteY7" fmla="*/ 266604 h 329090"/>
                <a:gd name="connsiteX8" fmla="*/ 164698 w 243328"/>
                <a:gd name="connsiteY8" fmla="*/ 296897 h 329090"/>
                <a:gd name="connsiteX9" fmla="*/ 104284 w 243328"/>
                <a:gd name="connsiteY9" fmla="*/ 296897 h 329090"/>
                <a:gd name="connsiteX10" fmla="*/ 80000 w 243328"/>
                <a:gd name="connsiteY10" fmla="*/ 264398 h 329090"/>
                <a:gd name="connsiteX11" fmla="*/ 80000 w 243328"/>
                <a:gd name="connsiteY11" fmla="*/ 175251 h 329090"/>
                <a:gd name="connsiteX12" fmla="*/ 144655 w 243328"/>
                <a:gd name="connsiteY12" fmla="*/ 175251 h 329090"/>
                <a:gd name="connsiteX13" fmla="*/ 174852 w 243328"/>
                <a:gd name="connsiteY13" fmla="*/ 193126 h 329090"/>
                <a:gd name="connsiteX14" fmla="*/ 175537 w 243328"/>
                <a:gd name="connsiteY14" fmla="*/ 196930 h 329090"/>
                <a:gd name="connsiteX15" fmla="*/ 199079 w 243328"/>
                <a:gd name="connsiteY15" fmla="*/ 196930 h 329090"/>
                <a:gd name="connsiteX16" fmla="*/ 199079 w 243328"/>
                <a:gd name="connsiteY16" fmla="*/ 122767 h 329090"/>
                <a:gd name="connsiteX17" fmla="*/ 175917 w 243328"/>
                <a:gd name="connsiteY17" fmla="*/ 122767 h 329090"/>
                <a:gd name="connsiteX18" fmla="*/ 175347 w 243328"/>
                <a:gd name="connsiteY18" fmla="*/ 126570 h 329090"/>
                <a:gd name="connsiteX19" fmla="*/ 144655 w 243328"/>
                <a:gd name="connsiteY19" fmla="*/ 143133 h 329090"/>
                <a:gd name="connsiteX20" fmla="*/ 80000 w 243328"/>
                <a:gd name="connsiteY20" fmla="*/ 143133 h 329090"/>
                <a:gd name="connsiteX21" fmla="*/ 80000 w 243328"/>
                <a:gd name="connsiteY21" fmla="*/ 32213 h 329090"/>
                <a:gd name="connsiteX22" fmla="*/ 166599 w 243328"/>
                <a:gd name="connsiteY22" fmla="*/ 32213 h 329090"/>
                <a:gd name="connsiteX23" fmla="*/ 201950 w 243328"/>
                <a:gd name="connsiteY23" fmla="*/ 55603 h 329090"/>
                <a:gd name="connsiteX24" fmla="*/ 202882 w 243328"/>
                <a:gd name="connsiteY24" fmla="*/ 58950 h 329090"/>
                <a:gd name="connsiteX25" fmla="*/ 227603 w 243328"/>
                <a:gd name="connsiteY25" fmla="*/ 58950 h 329090"/>
                <a:gd name="connsiteX26" fmla="*/ 223533 w 243328"/>
                <a:gd name="connsiteY26" fmla="*/ 0 h 329090"/>
                <a:gd name="connsiteX27" fmla="*/ 361 w 243328"/>
                <a:gd name="connsiteY27" fmla="*/ 0 h 329090"/>
                <a:gd name="connsiteX28" fmla="*/ 361 w 243328"/>
                <a:gd name="connsiteY28" fmla="*/ 23066 h 329090"/>
                <a:gd name="connsiteX29" fmla="*/ 4545 w 243328"/>
                <a:gd name="connsiteY29" fmla="*/ 23352 h 329090"/>
                <a:gd name="connsiteX30" fmla="*/ 16582 w 243328"/>
                <a:gd name="connsiteY30" fmla="*/ 52655 h 3290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243328" h="329090">
                  <a:moveTo>
                    <a:pt x="16544" y="287103"/>
                  </a:moveTo>
                  <a:cubicBezTo>
                    <a:pt x="16202" y="299939"/>
                    <a:pt x="15878" y="304218"/>
                    <a:pt x="4126" y="305397"/>
                  </a:cubicBezTo>
                  <a:lnTo>
                    <a:pt x="0" y="305796"/>
                  </a:lnTo>
                  <a:lnTo>
                    <a:pt x="0" y="329091"/>
                  </a:lnTo>
                  <a:lnTo>
                    <a:pt x="235342" y="329091"/>
                  </a:lnTo>
                  <a:lnTo>
                    <a:pt x="243329" y="263276"/>
                  </a:lnTo>
                  <a:lnTo>
                    <a:pt x="218608" y="263467"/>
                  </a:lnTo>
                  <a:lnTo>
                    <a:pt x="217600" y="266604"/>
                  </a:lnTo>
                  <a:cubicBezTo>
                    <a:pt x="207826" y="297239"/>
                    <a:pt x="197766" y="297144"/>
                    <a:pt x="164698" y="296897"/>
                  </a:cubicBezTo>
                  <a:lnTo>
                    <a:pt x="104284" y="296897"/>
                  </a:lnTo>
                  <a:cubicBezTo>
                    <a:pt x="80666" y="296897"/>
                    <a:pt x="80000" y="292276"/>
                    <a:pt x="80000" y="264398"/>
                  </a:cubicBezTo>
                  <a:lnTo>
                    <a:pt x="80000" y="175251"/>
                  </a:lnTo>
                  <a:lnTo>
                    <a:pt x="144655" y="175251"/>
                  </a:lnTo>
                  <a:cubicBezTo>
                    <a:pt x="166181" y="175251"/>
                    <a:pt x="170688" y="175727"/>
                    <a:pt x="174852" y="193126"/>
                  </a:cubicBezTo>
                  <a:lnTo>
                    <a:pt x="175537" y="196930"/>
                  </a:lnTo>
                  <a:lnTo>
                    <a:pt x="199079" y="196930"/>
                  </a:lnTo>
                  <a:lnTo>
                    <a:pt x="199079" y="122767"/>
                  </a:lnTo>
                  <a:lnTo>
                    <a:pt x="175917" y="122767"/>
                  </a:lnTo>
                  <a:lnTo>
                    <a:pt x="175347" y="126570"/>
                  </a:lnTo>
                  <a:cubicBezTo>
                    <a:pt x="172608" y="141935"/>
                    <a:pt x="167588" y="143133"/>
                    <a:pt x="144655" y="143133"/>
                  </a:cubicBezTo>
                  <a:lnTo>
                    <a:pt x="80000" y="143133"/>
                  </a:lnTo>
                  <a:lnTo>
                    <a:pt x="80000" y="32213"/>
                  </a:lnTo>
                  <a:lnTo>
                    <a:pt x="166599" y="32213"/>
                  </a:lnTo>
                  <a:cubicBezTo>
                    <a:pt x="188829" y="32213"/>
                    <a:pt x="196112" y="32213"/>
                    <a:pt x="201950" y="55603"/>
                  </a:cubicBezTo>
                  <a:lnTo>
                    <a:pt x="202882" y="58950"/>
                  </a:lnTo>
                  <a:lnTo>
                    <a:pt x="227603" y="58950"/>
                  </a:lnTo>
                  <a:lnTo>
                    <a:pt x="223533" y="0"/>
                  </a:lnTo>
                  <a:lnTo>
                    <a:pt x="361" y="0"/>
                  </a:lnTo>
                  <a:lnTo>
                    <a:pt x="361" y="23066"/>
                  </a:lnTo>
                  <a:lnTo>
                    <a:pt x="4545" y="23352"/>
                  </a:lnTo>
                  <a:cubicBezTo>
                    <a:pt x="16411" y="24778"/>
                    <a:pt x="16430" y="29056"/>
                    <a:pt x="16582" y="52655"/>
                  </a:cubicBezTo>
                  <a:close/>
                </a:path>
              </a:pathLst>
            </a:custGeom>
            <a:solidFill>
              <a:srgbClr val="000000"/>
            </a:solidFill>
            <a:ln w="190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6" name="Freihandform: Form 5">
              <a:extLst>
                <a:ext uri="{FF2B5EF4-FFF2-40B4-BE49-F238E27FC236}">
                  <a16:creationId xmlns:a16="http://schemas.microsoft.com/office/drawing/2014/main" id="{8E6F700F-17C6-405B-81D0-2B15A47DEEEF}"/>
                </a:ext>
              </a:extLst>
            </p:cNvPr>
            <p:cNvSpPr/>
            <p:nvPr/>
          </p:nvSpPr>
          <p:spPr>
            <a:xfrm>
              <a:off x="11361159" y="334047"/>
              <a:ext cx="351663" cy="338788"/>
            </a:xfrm>
            <a:custGeom>
              <a:avLst/>
              <a:gdLst>
                <a:gd name="connsiteX0" fmla="*/ 236768 w 351663"/>
                <a:gd name="connsiteY0" fmla="*/ 212960 h 338788"/>
                <a:gd name="connsiteX1" fmla="*/ 204061 w 351663"/>
                <a:gd name="connsiteY1" fmla="*/ 181793 h 338788"/>
                <a:gd name="connsiteX2" fmla="*/ 264170 w 351663"/>
                <a:gd name="connsiteY2" fmla="*/ 96753 h 338788"/>
                <a:gd name="connsiteX3" fmla="*/ 121417 w 351663"/>
                <a:gd name="connsiteY3" fmla="*/ 0 h 338788"/>
                <a:gd name="connsiteX4" fmla="*/ 59007 w 351663"/>
                <a:gd name="connsiteY4" fmla="*/ 1027 h 338788"/>
                <a:gd name="connsiteX5" fmla="*/ 24607 w 351663"/>
                <a:gd name="connsiteY5" fmla="*/ 2700 h 338788"/>
                <a:gd name="connsiteX6" fmla="*/ 10478 w 351663"/>
                <a:gd name="connsiteY6" fmla="*/ 3651 h 338788"/>
                <a:gd name="connsiteX7" fmla="*/ 10478 w 351663"/>
                <a:gd name="connsiteY7" fmla="*/ 26946 h 338788"/>
                <a:gd name="connsiteX8" fmla="*/ 14585 w 351663"/>
                <a:gd name="connsiteY8" fmla="*/ 27136 h 338788"/>
                <a:gd name="connsiteX9" fmla="*/ 28752 w 351663"/>
                <a:gd name="connsiteY9" fmla="*/ 40713 h 338788"/>
                <a:gd name="connsiteX10" fmla="*/ 28562 w 351663"/>
                <a:gd name="connsiteY10" fmla="*/ 281722 h 338788"/>
                <a:gd name="connsiteX11" fmla="*/ 4336 w 351663"/>
                <a:gd name="connsiteY11" fmla="*/ 311083 h 338788"/>
                <a:gd name="connsiteX12" fmla="*/ 0 w 351663"/>
                <a:gd name="connsiteY12" fmla="*/ 311311 h 338788"/>
                <a:gd name="connsiteX13" fmla="*/ 0 w 351663"/>
                <a:gd name="connsiteY13" fmla="*/ 334130 h 338788"/>
                <a:gd name="connsiteX14" fmla="*/ 124175 w 351663"/>
                <a:gd name="connsiteY14" fmla="*/ 334130 h 338788"/>
                <a:gd name="connsiteX15" fmla="*/ 124175 w 351663"/>
                <a:gd name="connsiteY15" fmla="*/ 311178 h 338788"/>
                <a:gd name="connsiteX16" fmla="*/ 119877 w 351663"/>
                <a:gd name="connsiteY16" fmla="*/ 311178 h 338788"/>
                <a:gd name="connsiteX17" fmla="*/ 94833 w 351663"/>
                <a:gd name="connsiteY17" fmla="*/ 267004 h 338788"/>
                <a:gd name="connsiteX18" fmla="*/ 94833 w 351663"/>
                <a:gd name="connsiteY18" fmla="*/ 201760 h 338788"/>
                <a:gd name="connsiteX19" fmla="*/ 134272 w 351663"/>
                <a:gd name="connsiteY19" fmla="*/ 201417 h 338788"/>
                <a:gd name="connsiteX20" fmla="*/ 187517 w 351663"/>
                <a:gd name="connsiteY20" fmla="*/ 249414 h 338788"/>
                <a:gd name="connsiteX21" fmla="*/ 214501 w 351663"/>
                <a:gd name="connsiteY21" fmla="*/ 276626 h 338788"/>
                <a:gd name="connsiteX22" fmla="*/ 230569 w 351663"/>
                <a:gd name="connsiteY22" fmla="*/ 293417 h 338788"/>
                <a:gd name="connsiteX23" fmla="*/ 241731 w 351663"/>
                <a:gd name="connsiteY23" fmla="*/ 305796 h 338788"/>
                <a:gd name="connsiteX24" fmla="*/ 327836 w 351663"/>
                <a:gd name="connsiteY24" fmla="*/ 338789 h 338788"/>
                <a:gd name="connsiteX25" fmla="*/ 346491 w 351663"/>
                <a:gd name="connsiteY25" fmla="*/ 338523 h 338788"/>
                <a:gd name="connsiteX26" fmla="*/ 351663 w 351663"/>
                <a:gd name="connsiteY26" fmla="*/ 338409 h 338788"/>
                <a:gd name="connsiteX27" fmla="*/ 351663 w 351663"/>
                <a:gd name="connsiteY27" fmla="*/ 315494 h 338788"/>
                <a:gd name="connsiteX28" fmla="*/ 346852 w 351663"/>
                <a:gd name="connsiteY28" fmla="*/ 315057 h 338788"/>
                <a:gd name="connsiteX29" fmla="*/ 346852 w 351663"/>
                <a:gd name="connsiteY29" fmla="*/ 315057 h 338788"/>
                <a:gd name="connsiteX30" fmla="*/ 309181 w 351663"/>
                <a:gd name="connsiteY30" fmla="*/ 287807 h 338788"/>
                <a:gd name="connsiteX31" fmla="*/ 278014 w 351663"/>
                <a:gd name="connsiteY31" fmla="*/ 255004 h 338788"/>
                <a:gd name="connsiteX32" fmla="*/ 193374 w 351663"/>
                <a:gd name="connsiteY32" fmla="*/ 101907 h 338788"/>
                <a:gd name="connsiteX33" fmla="*/ 106756 w 351663"/>
                <a:gd name="connsiteY33" fmla="*/ 178769 h 338788"/>
                <a:gd name="connsiteX34" fmla="*/ 94871 w 351663"/>
                <a:gd name="connsiteY34" fmla="*/ 178256 h 338788"/>
                <a:gd name="connsiteX35" fmla="*/ 94871 w 351663"/>
                <a:gd name="connsiteY35" fmla="*/ 24911 h 338788"/>
                <a:gd name="connsiteX36" fmla="*/ 116226 w 351663"/>
                <a:gd name="connsiteY36" fmla="*/ 24664 h 338788"/>
                <a:gd name="connsiteX37" fmla="*/ 193374 w 351663"/>
                <a:gd name="connsiteY37" fmla="*/ 101907 h 3387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351663" h="338788">
                  <a:moveTo>
                    <a:pt x="236768" y="212960"/>
                  </a:moveTo>
                  <a:cubicBezTo>
                    <a:pt x="233193" y="209366"/>
                    <a:pt x="215470" y="191586"/>
                    <a:pt x="204061" y="181793"/>
                  </a:cubicBezTo>
                  <a:cubicBezTo>
                    <a:pt x="243994" y="162986"/>
                    <a:pt x="264170" y="134386"/>
                    <a:pt x="264170" y="96753"/>
                  </a:cubicBezTo>
                  <a:cubicBezTo>
                    <a:pt x="264170" y="67659"/>
                    <a:pt x="250270" y="0"/>
                    <a:pt x="121417" y="0"/>
                  </a:cubicBezTo>
                  <a:cubicBezTo>
                    <a:pt x="110863" y="0"/>
                    <a:pt x="86162" y="0"/>
                    <a:pt x="59007" y="1027"/>
                  </a:cubicBezTo>
                  <a:cubicBezTo>
                    <a:pt x="42634" y="1749"/>
                    <a:pt x="33031" y="2263"/>
                    <a:pt x="24607" y="2700"/>
                  </a:cubicBezTo>
                  <a:lnTo>
                    <a:pt x="10478" y="3651"/>
                  </a:lnTo>
                  <a:lnTo>
                    <a:pt x="10478" y="26946"/>
                  </a:lnTo>
                  <a:lnTo>
                    <a:pt x="14585" y="27136"/>
                  </a:lnTo>
                  <a:cubicBezTo>
                    <a:pt x="24759" y="27877"/>
                    <a:pt x="28619" y="30521"/>
                    <a:pt x="28752" y="40713"/>
                  </a:cubicBezTo>
                  <a:lnTo>
                    <a:pt x="28562" y="281722"/>
                  </a:lnTo>
                  <a:cubicBezTo>
                    <a:pt x="27935" y="301708"/>
                    <a:pt x="26660" y="310037"/>
                    <a:pt x="4336" y="311083"/>
                  </a:cubicBezTo>
                  <a:lnTo>
                    <a:pt x="0" y="311311"/>
                  </a:lnTo>
                  <a:lnTo>
                    <a:pt x="0" y="334130"/>
                  </a:lnTo>
                  <a:lnTo>
                    <a:pt x="124175" y="334130"/>
                  </a:lnTo>
                  <a:lnTo>
                    <a:pt x="124175" y="311178"/>
                  </a:lnTo>
                  <a:lnTo>
                    <a:pt x="119877" y="311178"/>
                  </a:lnTo>
                  <a:cubicBezTo>
                    <a:pt x="94814" y="309942"/>
                    <a:pt x="94833" y="304218"/>
                    <a:pt x="94833" y="267004"/>
                  </a:cubicBezTo>
                  <a:lnTo>
                    <a:pt x="94833" y="201760"/>
                  </a:lnTo>
                  <a:cubicBezTo>
                    <a:pt x="107973" y="202526"/>
                    <a:pt x="121151" y="202410"/>
                    <a:pt x="134272" y="201417"/>
                  </a:cubicBezTo>
                  <a:cubicBezTo>
                    <a:pt x="154334" y="216402"/>
                    <a:pt x="161864" y="223514"/>
                    <a:pt x="187517" y="249414"/>
                  </a:cubicBezTo>
                  <a:lnTo>
                    <a:pt x="214501" y="276626"/>
                  </a:lnTo>
                  <a:cubicBezTo>
                    <a:pt x="220624" y="282825"/>
                    <a:pt x="225910" y="288454"/>
                    <a:pt x="230569" y="293417"/>
                  </a:cubicBezTo>
                  <a:cubicBezTo>
                    <a:pt x="234791" y="297904"/>
                    <a:pt x="238461" y="302088"/>
                    <a:pt x="241731" y="305796"/>
                  </a:cubicBezTo>
                  <a:cubicBezTo>
                    <a:pt x="261698" y="328444"/>
                    <a:pt x="270826" y="338789"/>
                    <a:pt x="327836" y="338789"/>
                  </a:cubicBezTo>
                  <a:cubicBezTo>
                    <a:pt x="333541" y="338789"/>
                    <a:pt x="339607" y="338789"/>
                    <a:pt x="346491" y="338523"/>
                  </a:cubicBezTo>
                  <a:lnTo>
                    <a:pt x="351663" y="338409"/>
                  </a:lnTo>
                  <a:lnTo>
                    <a:pt x="351663" y="315494"/>
                  </a:lnTo>
                  <a:lnTo>
                    <a:pt x="346852" y="315057"/>
                  </a:lnTo>
                  <a:lnTo>
                    <a:pt x="346852" y="315057"/>
                  </a:lnTo>
                  <a:cubicBezTo>
                    <a:pt x="333408" y="313802"/>
                    <a:pt x="325326" y="305112"/>
                    <a:pt x="309181" y="287807"/>
                  </a:cubicBezTo>
                  <a:lnTo>
                    <a:pt x="278014" y="255004"/>
                  </a:lnTo>
                  <a:close/>
                  <a:moveTo>
                    <a:pt x="193374" y="101907"/>
                  </a:moveTo>
                  <a:cubicBezTo>
                    <a:pt x="193374" y="154676"/>
                    <a:pt x="169357" y="176354"/>
                    <a:pt x="106756" y="178769"/>
                  </a:cubicBezTo>
                  <a:cubicBezTo>
                    <a:pt x="104854" y="178769"/>
                    <a:pt x="99416" y="178769"/>
                    <a:pt x="94871" y="178256"/>
                  </a:cubicBezTo>
                  <a:lnTo>
                    <a:pt x="94871" y="24911"/>
                  </a:lnTo>
                  <a:cubicBezTo>
                    <a:pt x="101089" y="24664"/>
                    <a:pt x="110635" y="24664"/>
                    <a:pt x="116226" y="24664"/>
                  </a:cubicBezTo>
                  <a:cubicBezTo>
                    <a:pt x="167645" y="24645"/>
                    <a:pt x="193374" y="50621"/>
                    <a:pt x="193374" y="101907"/>
                  </a:cubicBezTo>
                  <a:close/>
                </a:path>
              </a:pathLst>
            </a:custGeom>
            <a:solidFill>
              <a:srgbClr val="000000"/>
            </a:solidFill>
            <a:ln w="190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9" name="Freihandform: Form 8">
              <a:extLst>
                <a:ext uri="{FF2B5EF4-FFF2-40B4-BE49-F238E27FC236}">
                  <a16:creationId xmlns:a16="http://schemas.microsoft.com/office/drawing/2014/main" id="{E61F8F61-0A3A-4A54-9246-6A366390E4DB}"/>
                </a:ext>
              </a:extLst>
            </p:cNvPr>
            <p:cNvSpPr/>
            <p:nvPr/>
          </p:nvSpPr>
          <p:spPr>
            <a:xfrm>
              <a:off x="10279262" y="339029"/>
              <a:ext cx="336564" cy="329223"/>
            </a:xfrm>
            <a:custGeom>
              <a:avLst/>
              <a:gdLst>
                <a:gd name="connsiteX0" fmla="*/ 197272 w 336564"/>
                <a:gd name="connsiteY0" fmla="*/ 0 h 329223"/>
                <a:gd name="connsiteX1" fmla="*/ 147450 w 336564"/>
                <a:gd name="connsiteY1" fmla="*/ 0 h 329223"/>
                <a:gd name="connsiteX2" fmla="*/ 40580 w 336564"/>
                <a:gd name="connsiteY2" fmla="*/ 267289 h 329223"/>
                <a:gd name="connsiteX3" fmla="*/ 4241 w 336564"/>
                <a:gd name="connsiteY3" fmla="*/ 306119 h 329223"/>
                <a:gd name="connsiteX4" fmla="*/ 0 w 336564"/>
                <a:gd name="connsiteY4" fmla="*/ 306405 h 329223"/>
                <a:gd name="connsiteX5" fmla="*/ 0 w 336564"/>
                <a:gd name="connsiteY5" fmla="*/ 329224 h 329223"/>
                <a:gd name="connsiteX6" fmla="*/ 92171 w 336564"/>
                <a:gd name="connsiteY6" fmla="*/ 329224 h 329223"/>
                <a:gd name="connsiteX7" fmla="*/ 92171 w 336564"/>
                <a:gd name="connsiteY7" fmla="*/ 306576 h 329223"/>
                <a:gd name="connsiteX8" fmla="*/ 88025 w 336564"/>
                <a:gd name="connsiteY8" fmla="*/ 306214 h 329223"/>
                <a:gd name="connsiteX9" fmla="*/ 67469 w 336564"/>
                <a:gd name="connsiteY9" fmla="*/ 290602 h 329223"/>
                <a:gd name="connsiteX10" fmla="*/ 72394 w 336564"/>
                <a:gd name="connsiteY10" fmla="*/ 272081 h 329223"/>
                <a:gd name="connsiteX11" fmla="*/ 97115 w 336564"/>
                <a:gd name="connsiteY11" fmla="*/ 208263 h 329223"/>
                <a:gd name="connsiteX12" fmla="*/ 210716 w 336564"/>
                <a:gd name="connsiteY12" fmla="*/ 208263 h 329223"/>
                <a:gd name="connsiteX13" fmla="*/ 235437 w 336564"/>
                <a:gd name="connsiteY13" fmla="*/ 271929 h 329223"/>
                <a:gd name="connsiteX14" fmla="*/ 241807 w 336564"/>
                <a:gd name="connsiteY14" fmla="*/ 291991 h 329223"/>
                <a:gd name="connsiteX15" fmla="*/ 241960 w 336564"/>
                <a:gd name="connsiteY15" fmla="*/ 292751 h 329223"/>
                <a:gd name="connsiteX16" fmla="*/ 240267 w 336564"/>
                <a:gd name="connsiteY16" fmla="*/ 300224 h 329223"/>
                <a:gd name="connsiteX17" fmla="*/ 221879 w 336564"/>
                <a:gd name="connsiteY17" fmla="*/ 305815 h 329223"/>
                <a:gd name="connsiteX18" fmla="*/ 217695 w 336564"/>
                <a:gd name="connsiteY18" fmla="*/ 306138 h 329223"/>
                <a:gd name="connsiteX19" fmla="*/ 217695 w 336564"/>
                <a:gd name="connsiteY19" fmla="*/ 329148 h 329223"/>
                <a:gd name="connsiteX20" fmla="*/ 336564 w 336564"/>
                <a:gd name="connsiteY20" fmla="*/ 329148 h 329223"/>
                <a:gd name="connsiteX21" fmla="*/ 336564 w 336564"/>
                <a:gd name="connsiteY21" fmla="*/ 306557 h 329223"/>
                <a:gd name="connsiteX22" fmla="*/ 332229 w 336564"/>
                <a:gd name="connsiteY22" fmla="*/ 306329 h 329223"/>
                <a:gd name="connsiteX23" fmla="*/ 299901 w 336564"/>
                <a:gd name="connsiteY23" fmla="*/ 272537 h 329223"/>
                <a:gd name="connsiteX24" fmla="*/ 197614 w 336564"/>
                <a:gd name="connsiteY24" fmla="*/ 174091 h 329223"/>
                <a:gd name="connsiteX25" fmla="*/ 110141 w 336564"/>
                <a:gd name="connsiteY25" fmla="*/ 174091 h 329223"/>
                <a:gd name="connsiteX26" fmla="*/ 154562 w 336564"/>
                <a:gd name="connsiteY26" fmla="*/ 60129 h 3292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336564" h="329223">
                  <a:moveTo>
                    <a:pt x="197272" y="0"/>
                  </a:moveTo>
                  <a:lnTo>
                    <a:pt x="147450" y="0"/>
                  </a:lnTo>
                  <a:lnTo>
                    <a:pt x="40580" y="267289"/>
                  </a:lnTo>
                  <a:cubicBezTo>
                    <a:pt x="27896" y="298912"/>
                    <a:pt x="25595" y="304617"/>
                    <a:pt x="4241" y="306119"/>
                  </a:cubicBezTo>
                  <a:lnTo>
                    <a:pt x="0" y="306405"/>
                  </a:lnTo>
                  <a:lnTo>
                    <a:pt x="0" y="329224"/>
                  </a:lnTo>
                  <a:lnTo>
                    <a:pt x="92171" y="329224"/>
                  </a:lnTo>
                  <a:lnTo>
                    <a:pt x="92171" y="306576"/>
                  </a:lnTo>
                  <a:lnTo>
                    <a:pt x="88025" y="306214"/>
                  </a:lnTo>
                  <a:cubicBezTo>
                    <a:pt x="70911" y="304313"/>
                    <a:pt x="66936" y="297809"/>
                    <a:pt x="67469" y="290602"/>
                  </a:cubicBezTo>
                  <a:cubicBezTo>
                    <a:pt x="67811" y="286096"/>
                    <a:pt x="69161" y="280790"/>
                    <a:pt x="72394" y="272081"/>
                  </a:cubicBezTo>
                  <a:lnTo>
                    <a:pt x="97115" y="208263"/>
                  </a:lnTo>
                  <a:lnTo>
                    <a:pt x="210716" y="208263"/>
                  </a:lnTo>
                  <a:lnTo>
                    <a:pt x="235437" y="271929"/>
                  </a:lnTo>
                  <a:cubicBezTo>
                    <a:pt x="239411" y="283205"/>
                    <a:pt x="240286" y="285392"/>
                    <a:pt x="241807" y="291991"/>
                  </a:cubicBezTo>
                  <a:lnTo>
                    <a:pt x="241960" y="292751"/>
                  </a:lnTo>
                  <a:cubicBezTo>
                    <a:pt x="242587" y="295370"/>
                    <a:pt x="241961" y="298131"/>
                    <a:pt x="240267" y="300224"/>
                  </a:cubicBezTo>
                  <a:cubicBezTo>
                    <a:pt x="237871" y="303229"/>
                    <a:pt x="231957" y="305035"/>
                    <a:pt x="221879" y="305815"/>
                  </a:cubicBezTo>
                  <a:lnTo>
                    <a:pt x="217695" y="306138"/>
                  </a:lnTo>
                  <a:lnTo>
                    <a:pt x="217695" y="329148"/>
                  </a:lnTo>
                  <a:lnTo>
                    <a:pt x="336564" y="329148"/>
                  </a:lnTo>
                  <a:lnTo>
                    <a:pt x="336564" y="306557"/>
                  </a:lnTo>
                  <a:lnTo>
                    <a:pt x="332229" y="306329"/>
                  </a:lnTo>
                  <a:cubicBezTo>
                    <a:pt x="311901" y="305397"/>
                    <a:pt x="310056" y="300377"/>
                    <a:pt x="299901" y="272537"/>
                  </a:cubicBezTo>
                  <a:close/>
                  <a:moveTo>
                    <a:pt x="197614" y="174091"/>
                  </a:moveTo>
                  <a:lnTo>
                    <a:pt x="110141" y="174091"/>
                  </a:lnTo>
                  <a:lnTo>
                    <a:pt x="154562" y="60129"/>
                  </a:lnTo>
                  <a:close/>
                </a:path>
              </a:pathLst>
            </a:custGeom>
            <a:solidFill>
              <a:srgbClr val="000000"/>
            </a:solidFill>
            <a:ln w="190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16" name="Freihandform: Form 15">
              <a:extLst>
                <a:ext uri="{FF2B5EF4-FFF2-40B4-BE49-F238E27FC236}">
                  <a16:creationId xmlns:a16="http://schemas.microsoft.com/office/drawing/2014/main" id="{10579C9B-9230-4FA8-B8AD-1FA518105368}"/>
                </a:ext>
              </a:extLst>
            </p:cNvPr>
            <p:cNvSpPr/>
            <p:nvPr/>
          </p:nvSpPr>
          <p:spPr>
            <a:xfrm>
              <a:off x="10972339" y="330434"/>
              <a:ext cx="355447" cy="345976"/>
            </a:xfrm>
            <a:custGeom>
              <a:avLst/>
              <a:gdLst>
                <a:gd name="connsiteX0" fmla="*/ 177724 w 355447"/>
                <a:gd name="connsiteY0" fmla="*/ 0 h 345976"/>
                <a:gd name="connsiteX1" fmla="*/ 0 w 355447"/>
                <a:gd name="connsiteY1" fmla="*/ 181755 h 345976"/>
                <a:gd name="connsiteX2" fmla="*/ 175822 w 355447"/>
                <a:gd name="connsiteY2" fmla="*/ 345977 h 345976"/>
                <a:gd name="connsiteX3" fmla="*/ 355447 w 355447"/>
                <a:gd name="connsiteY3" fmla="*/ 167322 h 345976"/>
                <a:gd name="connsiteX4" fmla="*/ 177724 w 355447"/>
                <a:gd name="connsiteY4" fmla="*/ 0 h 345976"/>
                <a:gd name="connsiteX5" fmla="*/ 288948 w 355447"/>
                <a:gd name="connsiteY5" fmla="*/ 180196 h 345976"/>
                <a:gd name="connsiteX6" fmla="*/ 183409 w 355447"/>
                <a:gd name="connsiteY6" fmla="*/ 320381 h 345976"/>
                <a:gd name="connsiteX7" fmla="*/ 66518 w 355447"/>
                <a:gd name="connsiteY7" fmla="*/ 167835 h 345976"/>
                <a:gd name="connsiteX8" fmla="*/ 173920 w 355447"/>
                <a:gd name="connsiteY8" fmla="*/ 25577 h 345976"/>
                <a:gd name="connsiteX9" fmla="*/ 288948 w 355447"/>
                <a:gd name="connsiteY9" fmla="*/ 180196 h 3459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55447" h="345976">
                  <a:moveTo>
                    <a:pt x="177724" y="0"/>
                  </a:moveTo>
                  <a:cubicBezTo>
                    <a:pt x="74676" y="0"/>
                    <a:pt x="0" y="76425"/>
                    <a:pt x="0" y="181755"/>
                  </a:cubicBezTo>
                  <a:cubicBezTo>
                    <a:pt x="0" y="276835"/>
                    <a:pt x="73953" y="345977"/>
                    <a:pt x="175822" y="345977"/>
                  </a:cubicBezTo>
                  <a:cubicBezTo>
                    <a:pt x="278223" y="345977"/>
                    <a:pt x="355447" y="269171"/>
                    <a:pt x="355447" y="167322"/>
                  </a:cubicBezTo>
                  <a:cubicBezTo>
                    <a:pt x="355447" y="68800"/>
                    <a:pt x="282369" y="0"/>
                    <a:pt x="177724" y="0"/>
                  </a:cubicBezTo>
                  <a:close/>
                  <a:moveTo>
                    <a:pt x="288948" y="180196"/>
                  </a:moveTo>
                  <a:cubicBezTo>
                    <a:pt x="288948" y="264056"/>
                    <a:pt x="246543" y="320381"/>
                    <a:pt x="183409" y="320381"/>
                  </a:cubicBezTo>
                  <a:cubicBezTo>
                    <a:pt x="125316" y="320381"/>
                    <a:pt x="66518" y="267973"/>
                    <a:pt x="66518" y="167835"/>
                  </a:cubicBezTo>
                  <a:cubicBezTo>
                    <a:pt x="66518" y="80095"/>
                    <a:pt x="107669" y="25577"/>
                    <a:pt x="173920" y="25577"/>
                  </a:cubicBezTo>
                  <a:cubicBezTo>
                    <a:pt x="241636" y="25577"/>
                    <a:pt x="288948" y="89166"/>
                    <a:pt x="288948" y="180196"/>
                  </a:cubicBezTo>
                  <a:close/>
                </a:path>
              </a:pathLst>
            </a:custGeom>
            <a:solidFill>
              <a:srgbClr val="000000"/>
            </a:solidFill>
            <a:ln w="190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17" name="Freihandform: Form 16">
              <a:extLst>
                <a:ext uri="{FF2B5EF4-FFF2-40B4-BE49-F238E27FC236}">
                  <a16:creationId xmlns:a16="http://schemas.microsoft.com/office/drawing/2014/main" id="{CF9930E1-FE54-4F3B-9AA4-8FAFAEBA68E4}"/>
                </a:ext>
              </a:extLst>
            </p:cNvPr>
            <p:cNvSpPr/>
            <p:nvPr/>
          </p:nvSpPr>
          <p:spPr>
            <a:xfrm>
              <a:off x="10629233" y="330434"/>
              <a:ext cx="319735" cy="345976"/>
            </a:xfrm>
            <a:custGeom>
              <a:avLst/>
              <a:gdLst>
                <a:gd name="connsiteX0" fmla="*/ 319735 w 319735"/>
                <a:gd name="connsiteY0" fmla="*/ 268620 h 345976"/>
                <a:gd name="connsiteX1" fmla="*/ 293455 w 319735"/>
                <a:gd name="connsiteY1" fmla="*/ 268943 h 345976"/>
                <a:gd name="connsiteX2" fmla="*/ 292143 w 319735"/>
                <a:gd name="connsiteY2" fmla="*/ 270750 h 345976"/>
                <a:gd name="connsiteX3" fmla="*/ 193260 w 319735"/>
                <a:gd name="connsiteY3" fmla="*/ 318290 h 345976"/>
                <a:gd name="connsiteX4" fmla="*/ 114134 w 319735"/>
                <a:gd name="connsiteY4" fmla="*/ 286875 h 345976"/>
                <a:gd name="connsiteX5" fmla="*/ 67792 w 319735"/>
                <a:gd name="connsiteY5" fmla="*/ 165743 h 345976"/>
                <a:gd name="connsiteX6" fmla="*/ 184588 w 319735"/>
                <a:gd name="connsiteY6" fmla="*/ 25538 h 345976"/>
                <a:gd name="connsiteX7" fmla="*/ 291382 w 319735"/>
                <a:gd name="connsiteY7" fmla="*/ 81864 h 345976"/>
                <a:gd name="connsiteX8" fmla="*/ 292675 w 319735"/>
                <a:gd name="connsiteY8" fmla="*/ 84412 h 345976"/>
                <a:gd name="connsiteX9" fmla="*/ 314449 w 319735"/>
                <a:gd name="connsiteY9" fmla="*/ 84070 h 345976"/>
                <a:gd name="connsiteX10" fmla="*/ 312338 w 319735"/>
                <a:gd name="connsiteY10" fmla="*/ 14851 h 345976"/>
                <a:gd name="connsiteX11" fmla="*/ 294482 w 319735"/>
                <a:gd name="connsiteY11" fmla="*/ 14851 h 345976"/>
                <a:gd name="connsiteX12" fmla="*/ 293550 w 319735"/>
                <a:gd name="connsiteY12" fmla="*/ 15479 h 345976"/>
                <a:gd name="connsiteX13" fmla="*/ 286761 w 319735"/>
                <a:gd name="connsiteY13" fmla="*/ 16981 h 345976"/>
                <a:gd name="connsiteX14" fmla="*/ 266053 w 319735"/>
                <a:gd name="connsiteY14" fmla="*/ 12608 h 345976"/>
                <a:gd name="connsiteX15" fmla="*/ 182668 w 319735"/>
                <a:gd name="connsiteY15" fmla="*/ 0 h 345976"/>
                <a:gd name="connsiteX16" fmla="*/ 0 w 319735"/>
                <a:gd name="connsiteY16" fmla="*/ 179150 h 345976"/>
                <a:gd name="connsiteX17" fmla="*/ 178750 w 319735"/>
                <a:gd name="connsiteY17" fmla="*/ 345977 h 345976"/>
                <a:gd name="connsiteX18" fmla="*/ 242682 w 319735"/>
                <a:gd name="connsiteY18" fmla="*/ 338580 h 345976"/>
                <a:gd name="connsiteX19" fmla="*/ 275865 w 319735"/>
                <a:gd name="connsiteY19" fmla="*/ 334111 h 345976"/>
                <a:gd name="connsiteX20" fmla="*/ 280733 w 319735"/>
                <a:gd name="connsiteY20" fmla="*/ 333959 h 345976"/>
                <a:gd name="connsiteX21" fmla="*/ 291458 w 319735"/>
                <a:gd name="connsiteY21" fmla="*/ 334206 h 345976"/>
                <a:gd name="connsiteX22" fmla="*/ 296345 w 319735"/>
                <a:gd name="connsiteY22" fmla="*/ 334681 h 3459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319735" h="345976">
                  <a:moveTo>
                    <a:pt x="319735" y="268620"/>
                  </a:moveTo>
                  <a:lnTo>
                    <a:pt x="293455" y="268943"/>
                  </a:lnTo>
                  <a:lnTo>
                    <a:pt x="292143" y="270750"/>
                  </a:lnTo>
                  <a:cubicBezTo>
                    <a:pt x="265520" y="303533"/>
                    <a:pt x="237700" y="316863"/>
                    <a:pt x="193260" y="318290"/>
                  </a:cubicBezTo>
                  <a:cubicBezTo>
                    <a:pt x="163614" y="319355"/>
                    <a:pt x="136345" y="308382"/>
                    <a:pt x="114134" y="286875"/>
                  </a:cubicBezTo>
                  <a:cubicBezTo>
                    <a:pt x="84678" y="258351"/>
                    <a:pt x="67792" y="214215"/>
                    <a:pt x="67792" y="165743"/>
                  </a:cubicBezTo>
                  <a:cubicBezTo>
                    <a:pt x="67792" y="81883"/>
                    <a:pt x="114724" y="25538"/>
                    <a:pt x="184588" y="25538"/>
                  </a:cubicBezTo>
                  <a:cubicBezTo>
                    <a:pt x="233612" y="25538"/>
                    <a:pt x="274534" y="47103"/>
                    <a:pt x="291382" y="81864"/>
                  </a:cubicBezTo>
                  <a:lnTo>
                    <a:pt x="292675" y="84412"/>
                  </a:lnTo>
                  <a:lnTo>
                    <a:pt x="314449" y="84070"/>
                  </a:lnTo>
                  <a:lnTo>
                    <a:pt x="312338" y="14851"/>
                  </a:lnTo>
                  <a:lnTo>
                    <a:pt x="294482" y="14851"/>
                  </a:lnTo>
                  <a:lnTo>
                    <a:pt x="293550" y="15479"/>
                  </a:lnTo>
                  <a:cubicBezTo>
                    <a:pt x="291498" y="16674"/>
                    <a:pt x="289125" y="17199"/>
                    <a:pt x="286761" y="16981"/>
                  </a:cubicBezTo>
                  <a:cubicBezTo>
                    <a:pt x="282559" y="16829"/>
                    <a:pt x="275352" y="15080"/>
                    <a:pt x="266053" y="12608"/>
                  </a:cubicBezTo>
                  <a:cubicBezTo>
                    <a:pt x="246999" y="7606"/>
                    <a:pt x="218114" y="0"/>
                    <a:pt x="182668" y="0"/>
                  </a:cubicBezTo>
                  <a:cubicBezTo>
                    <a:pt x="56478" y="0"/>
                    <a:pt x="0" y="89965"/>
                    <a:pt x="0" y="179150"/>
                  </a:cubicBezTo>
                  <a:cubicBezTo>
                    <a:pt x="0" y="280486"/>
                    <a:pt x="70169" y="345977"/>
                    <a:pt x="178750" y="345977"/>
                  </a:cubicBezTo>
                  <a:cubicBezTo>
                    <a:pt x="203015" y="345977"/>
                    <a:pt x="224940" y="341888"/>
                    <a:pt x="242682" y="338580"/>
                  </a:cubicBezTo>
                  <a:cubicBezTo>
                    <a:pt x="254643" y="336336"/>
                    <a:pt x="266167" y="334320"/>
                    <a:pt x="275865" y="334111"/>
                  </a:cubicBezTo>
                  <a:cubicBezTo>
                    <a:pt x="277995" y="334111"/>
                    <a:pt x="279478" y="334111"/>
                    <a:pt x="280733" y="333959"/>
                  </a:cubicBezTo>
                  <a:cubicBezTo>
                    <a:pt x="284310" y="333862"/>
                    <a:pt x="287889" y="333944"/>
                    <a:pt x="291458" y="334206"/>
                  </a:cubicBezTo>
                  <a:lnTo>
                    <a:pt x="296345" y="334681"/>
                  </a:lnTo>
                  <a:close/>
                </a:path>
              </a:pathLst>
            </a:custGeom>
            <a:solidFill>
              <a:srgbClr val="000000"/>
            </a:solidFill>
            <a:ln w="190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</p:grpSp>
      <p:sp>
        <p:nvSpPr>
          <p:cNvPr id="33" name="Foliennummernplatzhalter 5">
            <a:extLst>
              <a:ext uri="{FF2B5EF4-FFF2-40B4-BE49-F238E27FC236}">
                <a16:creationId xmlns:a16="http://schemas.microsoft.com/office/drawing/2014/main" id="{02713C31-844A-4158-8195-F5D5AF250EE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87541" y="6633547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b">
            <a:spAutoFit/>
          </a:bodyPr>
          <a:lstStyle>
            <a:lvl1pPr algn="r" rtl="0">
              <a:defRPr sz="800">
                <a:solidFill>
                  <a:schemeClr val="tx2"/>
                </a:solidFill>
              </a:defRPr>
            </a:lvl1pPr>
          </a:lstStyle>
          <a:p>
            <a:fld id="{C50CBA42-791E-4851-9FB4-39A223136DC3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34" name="Fußzeilenplatzhalter 2">
            <a:extLst>
              <a:ext uri="{FF2B5EF4-FFF2-40B4-BE49-F238E27FC236}">
                <a16:creationId xmlns:a16="http://schemas.microsoft.com/office/drawing/2014/main" id="{369BAB78-9971-49D2-9300-BB7BAB8C26E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 flipH="1">
            <a:off x="479423" y="6633547"/>
            <a:ext cx="7246798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rtl="0">
              <a:defRPr lang="de-DE" sz="800">
                <a:solidFill>
                  <a:schemeClr val="tx2"/>
                </a:solidFill>
              </a:defRPr>
            </a:lvl1pPr>
          </a:lstStyle>
          <a:p>
            <a:r>
              <a:rPr lang="en-GB"/>
              <a:t>Senacor  |  Deutsche Bank  |  Request for Proposal – Miles &amp; More // Mobile app solution development </a:t>
            </a:r>
          </a:p>
        </p:txBody>
      </p:sp>
      <p:sp>
        <p:nvSpPr>
          <p:cNvPr id="24" name="Datumsplatzhalter 3">
            <a:extLst>
              <a:ext uri="{FF2B5EF4-FFF2-40B4-BE49-F238E27FC236}">
                <a16:creationId xmlns:a16="http://schemas.microsoft.com/office/drawing/2014/main" id="{E4E2224A-E0F4-4E75-B4F9-CFD1B4571E9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182100" y="6633547"/>
            <a:ext cx="125012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 rtl="0">
              <a:defRPr sz="800">
                <a:solidFill>
                  <a:schemeClr val="tx2"/>
                </a:solidFill>
              </a:defRPr>
            </a:lvl1pPr>
          </a:lstStyle>
          <a:p>
            <a:r>
              <a:rPr lang="de-DE"/>
              <a:t>August 2023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8501087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Benutzerdefiniertes Layou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2ADD338-F901-5BE1-7898-0846C0F1A26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52ADD338-F901-5BE1-7898-0846C0F1A26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Bildplatzhalter 4">
            <a:extLst>
              <a:ext uri="{FF2B5EF4-FFF2-40B4-BE49-F238E27FC236}">
                <a16:creationId xmlns:a16="http://schemas.microsoft.com/office/drawing/2014/main" id="{57DACF3D-5150-9F71-0BC5-65BB53BD6A0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12191999" cy="6858000"/>
          </a:xfrm>
        </p:spPr>
        <p:txBody>
          <a:bodyPr/>
          <a:lstStyle/>
          <a:p>
            <a:endParaRPr lang="de-DE"/>
          </a:p>
        </p:txBody>
      </p:sp>
      <p:sp>
        <p:nvSpPr>
          <p:cNvPr id="6" name="Textplatzhalter 7">
            <a:extLst>
              <a:ext uri="{FF2B5EF4-FFF2-40B4-BE49-F238E27FC236}">
                <a16:creationId xmlns:a16="http://schemas.microsoft.com/office/drawing/2014/main" id="{9F51B549-0002-BA3A-3858-4AEA29C9961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429867" y="3171632"/>
            <a:ext cx="5332266" cy="514738"/>
          </a:xfrm>
          <a:noFill/>
          <a:ln w="19050">
            <a:solidFill>
              <a:schemeClr val="tx1"/>
            </a:solidFill>
          </a:ln>
        </p:spPr>
        <p:txBody>
          <a:bodyPr wrap="none" lIns="360000" tIns="72000" rIns="360000" bIns="72000" rtlCol="0" anchor="ctr" anchorCtr="0">
            <a:spAutoFit/>
          </a:bodyPr>
          <a:lstStyle>
            <a:lvl1pPr algn="ctr" rtl="0">
              <a:defRPr lang="de-DE" sz="2400" cap="all" baseline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lang="de-DE" sz="1800" smtClean="0">
                <a:latin typeface="+mn-lt"/>
                <a:cs typeface="+mn-cs"/>
              </a:defRPr>
            </a:lvl2pPr>
            <a:lvl3pPr>
              <a:defRPr lang="de-DE" sz="1800" smtClean="0">
                <a:latin typeface="+mn-lt"/>
                <a:cs typeface="+mn-cs"/>
              </a:defRPr>
            </a:lvl3pPr>
            <a:lvl4pPr>
              <a:defRPr lang="de-DE" sz="1800" smtClean="0">
                <a:latin typeface="+mn-lt"/>
                <a:cs typeface="+mn-cs"/>
              </a:defRPr>
            </a:lvl4pPr>
            <a:lvl5pPr>
              <a:defRPr lang="de-DE" sz="1800">
                <a:latin typeface="+mn-lt"/>
                <a:cs typeface="+mn-cs"/>
              </a:defRPr>
            </a:lvl5pPr>
          </a:lstStyle>
          <a:p>
            <a:pPr lvl="0" algn="ctr">
              <a:spcBef>
                <a:spcPts val="400"/>
              </a:spcBef>
              <a:spcAft>
                <a:spcPts val="400"/>
              </a:spcAft>
            </a:pPr>
            <a:r>
              <a:rPr lang="en-GB"/>
              <a:t>Trennerslide mit Aussage</a:t>
            </a:r>
          </a:p>
        </p:txBody>
      </p:sp>
      <p:grpSp>
        <p:nvGrpSpPr>
          <p:cNvPr id="22" name="Gruppieren 21">
            <a:extLst>
              <a:ext uri="{FF2B5EF4-FFF2-40B4-BE49-F238E27FC236}">
                <a16:creationId xmlns:a16="http://schemas.microsoft.com/office/drawing/2014/main" id="{1AF5CC0C-EB24-D3EE-1546-50FDCC24F3E7}"/>
              </a:ext>
            </a:extLst>
          </p:cNvPr>
          <p:cNvGrpSpPr/>
          <p:nvPr userDrawn="1"/>
        </p:nvGrpSpPr>
        <p:grpSpPr>
          <a:xfrm>
            <a:off x="10240056" y="330434"/>
            <a:ext cx="1472671" cy="212964"/>
            <a:chOff x="10240056" y="330434"/>
            <a:chExt cx="1472671" cy="212964"/>
          </a:xfrm>
        </p:grpSpPr>
        <p:sp>
          <p:nvSpPr>
            <p:cNvPr id="23" name="Freihandform: Form 7">
              <a:extLst>
                <a:ext uri="{FF2B5EF4-FFF2-40B4-BE49-F238E27FC236}">
                  <a16:creationId xmlns:a16="http://schemas.microsoft.com/office/drawing/2014/main" id="{87D4F3E3-533E-CF02-F89D-48F0360875E2}"/>
                </a:ext>
              </a:extLst>
            </p:cNvPr>
            <p:cNvSpPr/>
            <p:nvPr/>
          </p:nvSpPr>
          <p:spPr>
            <a:xfrm>
              <a:off x="10602134" y="335724"/>
              <a:ext cx="213948" cy="204724"/>
            </a:xfrm>
            <a:custGeom>
              <a:avLst/>
              <a:gdLst>
                <a:gd name="connsiteX0" fmla="*/ 160491 w 213948"/>
                <a:gd name="connsiteY0" fmla="*/ 14175 h 204724"/>
                <a:gd name="connsiteX1" fmla="*/ 163136 w 213948"/>
                <a:gd name="connsiteY1" fmla="*/ 14327 h 204724"/>
                <a:gd name="connsiteX2" fmla="*/ 176854 w 213948"/>
                <a:gd name="connsiteY2" fmla="*/ 36064 h 204724"/>
                <a:gd name="connsiteX3" fmla="*/ 176854 w 213948"/>
                <a:gd name="connsiteY3" fmla="*/ 144712 h 204724"/>
                <a:gd name="connsiteX4" fmla="*/ 49408 w 213948"/>
                <a:gd name="connsiteY4" fmla="*/ 0 h 204724"/>
                <a:gd name="connsiteX5" fmla="*/ 4834 w 213948"/>
                <a:gd name="connsiteY5" fmla="*/ 0 h 204724"/>
                <a:gd name="connsiteX6" fmla="*/ 4834 w 213948"/>
                <a:gd name="connsiteY6" fmla="*/ 13894 h 204724"/>
                <a:gd name="connsiteX7" fmla="*/ 7292 w 213948"/>
                <a:gd name="connsiteY7" fmla="*/ 14140 h 204724"/>
                <a:gd name="connsiteX8" fmla="*/ 16727 w 213948"/>
                <a:gd name="connsiteY8" fmla="*/ 21163 h 204724"/>
                <a:gd name="connsiteX9" fmla="*/ 16727 w 213948"/>
                <a:gd name="connsiteY9" fmla="*/ 164821 h 204724"/>
                <a:gd name="connsiteX10" fmla="*/ 2681 w 213948"/>
                <a:gd name="connsiteY10" fmla="*/ 188372 h 204724"/>
                <a:gd name="connsiteX11" fmla="*/ 0 w 213948"/>
                <a:gd name="connsiteY11" fmla="*/ 188513 h 204724"/>
                <a:gd name="connsiteX12" fmla="*/ 0 w 213948"/>
                <a:gd name="connsiteY12" fmla="*/ 202559 h 204724"/>
                <a:gd name="connsiteX13" fmla="*/ 54523 w 213948"/>
                <a:gd name="connsiteY13" fmla="*/ 202559 h 204724"/>
                <a:gd name="connsiteX14" fmla="*/ 54523 w 213948"/>
                <a:gd name="connsiteY14" fmla="*/ 188665 h 204724"/>
                <a:gd name="connsiteX15" fmla="*/ 51936 w 213948"/>
                <a:gd name="connsiteY15" fmla="*/ 188466 h 204724"/>
                <a:gd name="connsiteX16" fmla="*/ 38580 w 213948"/>
                <a:gd name="connsiteY16" fmla="*/ 162457 h 204724"/>
                <a:gd name="connsiteX17" fmla="*/ 38580 w 213948"/>
                <a:gd name="connsiteY17" fmla="*/ 46048 h 204724"/>
                <a:gd name="connsiteX18" fmla="*/ 177873 w 213948"/>
                <a:gd name="connsiteY18" fmla="*/ 203776 h 204724"/>
                <a:gd name="connsiteX19" fmla="*/ 178716 w 213948"/>
                <a:gd name="connsiteY19" fmla="*/ 204724 h 204724"/>
                <a:gd name="connsiteX20" fmla="*/ 198708 w 213948"/>
                <a:gd name="connsiteY20" fmla="*/ 204724 h 204724"/>
                <a:gd name="connsiteX21" fmla="*/ 198708 w 213948"/>
                <a:gd name="connsiteY21" fmla="*/ 39271 h 204724"/>
                <a:gd name="connsiteX22" fmla="*/ 211373 w 213948"/>
                <a:gd name="connsiteY22" fmla="*/ 14421 h 204724"/>
                <a:gd name="connsiteX23" fmla="*/ 213948 w 213948"/>
                <a:gd name="connsiteY23" fmla="*/ 14198 h 204724"/>
                <a:gd name="connsiteX24" fmla="*/ 213948 w 213948"/>
                <a:gd name="connsiteY24" fmla="*/ 0 h 204724"/>
                <a:gd name="connsiteX25" fmla="*/ 160491 w 213948"/>
                <a:gd name="connsiteY25" fmla="*/ 0 h 2047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213948" h="204724">
                  <a:moveTo>
                    <a:pt x="160491" y="14175"/>
                  </a:moveTo>
                  <a:lnTo>
                    <a:pt x="163136" y="14327"/>
                  </a:lnTo>
                  <a:cubicBezTo>
                    <a:pt x="176878" y="15111"/>
                    <a:pt x="176878" y="17909"/>
                    <a:pt x="176854" y="36064"/>
                  </a:cubicBezTo>
                  <a:lnTo>
                    <a:pt x="176854" y="144712"/>
                  </a:lnTo>
                  <a:lnTo>
                    <a:pt x="49408" y="0"/>
                  </a:lnTo>
                  <a:lnTo>
                    <a:pt x="4834" y="0"/>
                  </a:lnTo>
                  <a:lnTo>
                    <a:pt x="4834" y="13894"/>
                  </a:lnTo>
                  <a:lnTo>
                    <a:pt x="7292" y="14140"/>
                  </a:lnTo>
                  <a:cubicBezTo>
                    <a:pt x="14655" y="14643"/>
                    <a:pt x="16586" y="17101"/>
                    <a:pt x="16727" y="21163"/>
                  </a:cubicBezTo>
                  <a:lnTo>
                    <a:pt x="16727" y="164821"/>
                  </a:lnTo>
                  <a:cubicBezTo>
                    <a:pt x="16727" y="182882"/>
                    <a:pt x="16727" y="187728"/>
                    <a:pt x="2681" y="188372"/>
                  </a:cubicBezTo>
                  <a:lnTo>
                    <a:pt x="0" y="188513"/>
                  </a:lnTo>
                  <a:lnTo>
                    <a:pt x="0" y="202559"/>
                  </a:lnTo>
                  <a:lnTo>
                    <a:pt x="54523" y="202559"/>
                  </a:lnTo>
                  <a:lnTo>
                    <a:pt x="54523" y="188665"/>
                  </a:lnTo>
                  <a:lnTo>
                    <a:pt x="51936" y="188466"/>
                  </a:lnTo>
                  <a:cubicBezTo>
                    <a:pt x="38557" y="187424"/>
                    <a:pt x="38569" y="182145"/>
                    <a:pt x="38580" y="162457"/>
                  </a:cubicBezTo>
                  <a:lnTo>
                    <a:pt x="38580" y="46048"/>
                  </a:lnTo>
                  <a:lnTo>
                    <a:pt x="177873" y="203776"/>
                  </a:lnTo>
                  <a:lnTo>
                    <a:pt x="178716" y="204724"/>
                  </a:lnTo>
                  <a:lnTo>
                    <a:pt x="198708" y="204724"/>
                  </a:lnTo>
                  <a:lnTo>
                    <a:pt x="198708" y="39271"/>
                  </a:lnTo>
                  <a:cubicBezTo>
                    <a:pt x="198708" y="19080"/>
                    <a:pt x="199797" y="15521"/>
                    <a:pt x="211373" y="14421"/>
                  </a:cubicBezTo>
                  <a:lnTo>
                    <a:pt x="213948" y="14198"/>
                  </a:lnTo>
                  <a:lnTo>
                    <a:pt x="213948" y="0"/>
                  </a:lnTo>
                  <a:lnTo>
                    <a:pt x="160491" y="0"/>
                  </a:lnTo>
                  <a:close/>
                </a:path>
              </a:pathLst>
            </a:custGeom>
            <a:solidFill>
              <a:srgbClr val="000000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24" name="Freihandform: Form 8">
              <a:extLst>
                <a:ext uri="{FF2B5EF4-FFF2-40B4-BE49-F238E27FC236}">
                  <a16:creationId xmlns:a16="http://schemas.microsoft.com/office/drawing/2014/main" id="{DD441C0B-AAA3-95D6-FF19-26A1F43B8FF5}"/>
                </a:ext>
              </a:extLst>
            </p:cNvPr>
            <p:cNvSpPr/>
            <p:nvPr/>
          </p:nvSpPr>
          <p:spPr>
            <a:xfrm>
              <a:off x="10240056" y="330434"/>
              <a:ext cx="150166" cy="212964"/>
            </a:xfrm>
            <a:custGeom>
              <a:avLst/>
              <a:gdLst>
                <a:gd name="connsiteX0" fmla="*/ 87918 w 150166"/>
                <a:gd name="connsiteY0" fmla="*/ 86267 h 212964"/>
                <a:gd name="connsiteX1" fmla="*/ 87918 w 150166"/>
                <a:gd name="connsiteY1" fmla="*/ 86267 h 212964"/>
                <a:gd name="connsiteX2" fmla="*/ 43309 w 150166"/>
                <a:gd name="connsiteY2" fmla="*/ 46282 h 212964"/>
                <a:gd name="connsiteX3" fmla="*/ 73427 w 150166"/>
                <a:gd name="connsiteY3" fmla="*/ 17078 h 212964"/>
                <a:gd name="connsiteX4" fmla="*/ 120248 w 150166"/>
                <a:gd name="connsiteY4" fmla="*/ 39739 h 212964"/>
                <a:gd name="connsiteX5" fmla="*/ 121032 w 150166"/>
                <a:gd name="connsiteY5" fmla="*/ 41331 h 212964"/>
                <a:gd name="connsiteX6" fmla="*/ 136109 w 150166"/>
                <a:gd name="connsiteY6" fmla="*/ 41167 h 212964"/>
                <a:gd name="connsiteX7" fmla="*/ 129589 w 150166"/>
                <a:gd name="connsiteY7" fmla="*/ 3078 h 212964"/>
                <a:gd name="connsiteX8" fmla="*/ 120026 w 150166"/>
                <a:gd name="connsiteY8" fmla="*/ 3078 h 212964"/>
                <a:gd name="connsiteX9" fmla="*/ 118551 w 150166"/>
                <a:gd name="connsiteY9" fmla="*/ 3746 h 212964"/>
                <a:gd name="connsiteX10" fmla="*/ 110977 w 150166"/>
                <a:gd name="connsiteY10" fmla="*/ 5384 h 212964"/>
                <a:gd name="connsiteX11" fmla="*/ 101438 w 150166"/>
                <a:gd name="connsiteY11" fmla="*/ 3804 h 212964"/>
                <a:gd name="connsiteX12" fmla="*/ 95807 w 150166"/>
                <a:gd name="connsiteY12" fmla="*/ 2634 h 212964"/>
                <a:gd name="connsiteX13" fmla="*/ 69412 w 150166"/>
                <a:gd name="connsiteY13" fmla="*/ 0 h 212964"/>
                <a:gd name="connsiteX14" fmla="*/ 5103 w 150166"/>
                <a:gd name="connsiteY14" fmla="*/ 55096 h 212964"/>
                <a:gd name="connsiteX15" fmla="*/ 63817 w 150166"/>
                <a:gd name="connsiteY15" fmla="*/ 117415 h 212964"/>
                <a:gd name="connsiteX16" fmla="*/ 110966 w 150166"/>
                <a:gd name="connsiteY16" fmla="*/ 162094 h 212964"/>
                <a:gd name="connsiteX17" fmla="*/ 72093 w 150166"/>
                <a:gd name="connsiteY17" fmla="*/ 193944 h 212964"/>
                <a:gd name="connsiteX18" fmla="*/ 15030 w 150166"/>
                <a:gd name="connsiteY18" fmla="*/ 167174 h 212964"/>
                <a:gd name="connsiteX19" fmla="*/ 14327 w 150166"/>
                <a:gd name="connsiteY19" fmla="*/ 165418 h 212964"/>
                <a:gd name="connsiteX20" fmla="*/ 0 w 150166"/>
                <a:gd name="connsiteY20" fmla="*/ 165418 h 212964"/>
                <a:gd name="connsiteX21" fmla="*/ 6368 w 150166"/>
                <a:gd name="connsiteY21" fmla="*/ 208283 h 212964"/>
                <a:gd name="connsiteX22" fmla="*/ 17932 w 150166"/>
                <a:gd name="connsiteY22" fmla="*/ 208283 h 212964"/>
                <a:gd name="connsiteX23" fmla="*/ 18740 w 150166"/>
                <a:gd name="connsiteY23" fmla="*/ 207510 h 212964"/>
                <a:gd name="connsiteX24" fmla="*/ 25997 w 150166"/>
                <a:gd name="connsiteY24" fmla="*/ 205895 h 212964"/>
                <a:gd name="connsiteX25" fmla="*/ 38393 w 150166"/>
                <a:gd name="connsiteY25" fmla="*/ 208107 h 212964"/>
                <a:gd name="connsiteX26" fmla="*/ 74445 w 150166"/>
                <a:gd name="connsiteY26" fmla="*/ 212965 h 212964"/>
                <a:gd name="connsiteX27" fmla="*/ 150167 w 150166"/>
                <a:gd name="connsiteY27" fmla="*/ 152648 h 212964"/>
                <a:gd name="connsiteX28" fmla="*/ 87930 w 150166"/>
                <a:gd name="connsiteY28" fmla="*/ 86267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150166" h="212964">
                  <a:moveTo>
                    <a:pt x="87918" y="86267"/>
                  </a:moveTo>
                  <a:lnTo>
                    <a:pt x="87918" y="86267"/>
                  </a:lnTo>
                  <a:cubicBezTo>
                    <a:pt x="64976" y="74750"/>
                    <a:pt x="43309" y="63864"/>
                    <a:pt x="43309" y="46282"/>
                  </a:cubicBezTo>
                  <a:cubicBezTo>
                    <a:pt x="43309" y="34507"/>
                    <a:pt x="52884" y="17078"/>
                    <a:pt x="73427" y="17078"/>
                  </a:cubicBezTo>
                  <a:cubicBezTo>
                    <a:pt x="97142" y="17078"/>
                    <a:pt x="111305" y="23574"/>
                    <a:pt x="120248" y="39739"/>
                  </a:cubicBezTo>
                  <a:lnTo>
                    <a:pt x="121032" y="41331"/>
                  </a:lnTo>
                  <a:lnTo>
                    <a:pt x="136109" y="41167"/>
                  </a:lnTo>
                  <a:lnTo>
                    <a:pt x="129589" y="3078"/>
                  </a:lnTo>
                  <a:lnTo>
                    <a:pt x="120026" y="3078"/>
                  </a:lnTo>
                  <a:lnTo>
                    <a:pt x="118551" y="3746"/>
                  </a:lnTo>
                  <a:cubicBezTo>
                    <a:pt x="116205" y="4922"/>
                    <a:pt x="113600" y="5486"/>
                    <a:pt x="110977" y="5384"/>
                  </a:cubicBezTo>
                  <a:cubicBezTo>
                    <a:pt x="106998" y="5232"/>
                    <a:pt x="105242" y="4577"/>
                    <a:pt x="101438" y="3804"/>
                  </a:cubicBezTo>
                  <a:cubicBezTo>
                    <a:pt x="99822" y="3465"/>
                    <a:pt x="98031" y="3008"/>
                    <a:pt x="95807" y="2634"/>
                  </a:cubicBezTo>
                  <a:cubicBezTo>
                    <a:pt x="87117" y="890"/>
                    <a:pt x="78276" y="8"/>
                    <a:pt x="69412" y="0"/>
                  </a:cubicBezTo>
                  <a:cubicBezTo>
                    <a:pt x="33945" y="0"/>
                    <a:pt x="5103" y="24710"/>
                    <a:pt x="5103" y="55096"/>
                  </a:cubicBezTo>
                  <a:cubicBezTo>
                    <a:pt x="5103" y="85846"/>
                    <a:pt x="34952" y="101917"/>
                    <a:pt x="63817" y="117415"/>
                  </a:cubicBezTo>
                  <a:cubicBezTo>
                    <a:pt x="88059" y="130455"/>
                    <a:pt x="110966" y="142804"/>
                    <a:pt x="110966" y="162094"/>
                  </a:cubicBezTo>
                  <a:cubicBezTo>
                    <a:pt x="110966" y="180249"/>
                    <a:pt x="94251" y="193944"/>
                    <a:pt x="72093" y="193944"/>
                  </a:cubicBezTo>
                  <a:cubicBezTo>
                    <a:pt x="41799" y="193944"/>
                    <a:pt x="23130" y="185177"/>
                    <a:pt x="15030" y="167174"/>
                  </a:cubicBezTo>
                  <a:lnTo>
                    <a:pt x="14327" y="165418"/>
                  </a:lnTo>
                  <a:lnTo>
                    <a:pt x="0" y="165418"/>
                  </a:lnTo>
                  <a:lnTo>
                    <a:pt x="6368" y="208283"/>
                  </a:lnTo>
                  <a:lnTo>
                    <a:pt x="17932" y="208283"/>
                  </a:lnTo>
                  <a:lnTo>
                    <a:pt x="18740" y="207510"/>
                  </a:lnTo>
                  <a:cubicBezTo>
                    <a:pt x="20461" y="205965"/>
                    <a:pt x="22603" y="205860"/>
                    <a:pt x="25997" y="205895"/>
                  </a:cubicBezTo>
                  <a:cubicBezTo>
                    <a:pt x="29392" y="205930"/>
                    <a:pt x="33313" y="206878"/>
                    <a:pt x="38393" y="208107"/>
                  </a:cubicBezTo>
                  <a:cubicBezTo>
                    <a:pt x="50154" y="211257"/>
                    <a:pt x="62270" y="212889"/>
                    <a:pt x="74445" y="212965"/>
                  </a:cubicBezTo>
                  <a:cubicBezTo>
                    <a:pt x="118328" y="212965"/>
                    <a:pt x="150167" y="187600"/>
                    <a:pt x="150167" y="152648"/>
                  </a:cubicBezTo>
                  <a:cubicBezTo>
                    <a:pt x="150167" y="117696"/>
                    <a:pt x="117052" y="100922"/>
                    <a:pt x="87930" y="86267"/>
                  </a:cubicBezTo>
                </a:path>
              </a:pathLst>
            </a:custGeom>
            <a:solidFill>
              <a:srgbClr val="000000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25" name="Freihandform: Form 9">
              <a:extLst>
                <a:ext uri="{FF2B5EF4-FFF2-40B4-BE49-F238E27FC236}">
                  <a16:creationId xmlns:a16="http://schemas.microsoft.com/office/drawing/2014/main" id="{76FDB872-DA21-BBD9-6601-383B7EB275C5}"/>
                </a:ext>
              </a:extLst>
            </p:cNvPr>
            <p:cNvSpPr/>
            <p:nvPr/>
          </p:nvSpPr>
          <p:spPr>
            <a:xfrm>
              <a:off x="10421346" y="335748"/>
              <a:ext cx="149780" cy="202570"/>
            </a:xfrm>
            <a:custGeom>
              <a:avLst/>
              <a:gdLst>
                <a:gd name="connsiteX0" fmla="*/ 10184 w 149780"/>
                <a:gd name="connsiteY0" fmla="*/ 176725 h 202570"/>
                <a:gd name="connsiteX1" fmla="*/ 2540 w 149780"/>
                <a:gd name="connsiteY1" fmla="*/ 187986 h 202570"/>
                <a:gd name="connsiteX2" fmla="*/ 0 w 149780"/>
                <a:gd name="connsiteY2" fmla="*/ 188232 h 202570"/>
                <a:gd name="connsiteX3" fmla="*/ 0 w 149780"/>
                <a:gd name="connsiteY3" fmla="*/ 202571 h 202570"/>
                <a:gd name="connsiteX4" fmla="*/ 144864 w 149780"/>
                <a:gd name="connsiteY4" fmla="*/ 202571 h 202570"/>
                <a:gd name="connsiteX5" fmla="*/ 149780 w 149780"/>
                <a:gd name="connsiteY5" fmla="*/ 162059 h 202570"/>
                <a:gd name="connsiteX6" fmla="*/ 134563 w 149780"/>
                <a:gd name="connsiteY6" fmla="*/ 162176 h 202570"/>
                <a:gd name="connsiteX7" fmla="*/ 133943 w 149780"/>
                <a:gd name="connsiteY7" fmla="*/ 164107 h 202570"/>
                <a:gd name="connsiteX8" fmla="*/ 101379 w 149780"/>
                <a:gd name="connsiteY8" fmla="*/ 182754 h 202570"/>
                <a:gd name="connsiteX9" fmla="*/ 64192 w 149780"/>
                <a:gd name="connsiteY9" fmla="*/ 182754 h 202570"/>
                <a:gd name="connsiteX10" fmla="*/ 49244 w 149780"/>
                <a:gd name="connsiteY10" fmla="*/ 162749 h 202570"/>
                <a:gd name="connsiteX11" fmla="*/ 49244 w 149780"/>
                <a:gd name="connsiteY11" fmla="*/ 107875 h 202570"/>
                <a:gd name="connsiteX12" fmla="*/ 89042 w 149780"/>
                <a:gd name="connsiteY12" fmla="*/ 107875 h 202570"/>
                <a:gd name="connsiteX13" fmla="*/ 107630 w 149780"/>
                <a:gd name="connsiteY13" fmla="*/ 118878 h 202570"/>
                <a:gd name="connsiteX14" fmla="*/ 108051 w 149780"/>
                <a:gd name="connsiteY14" fmla="*/ 121219 h 202570"/>
                <a:gd name="connsiteX15" fmla="*/ 122542 w 149780"/>
                <a:gd name="connsiteY15" fmla="*/ 121219 h 202570"/>
                <a:gd name="connsiteX16" fmla="*/ 122542 w 149780"/>
                <a:gd name="connsiteY16" fmla="*/ 75569 h 202570"/>
                <a:gd name="connsiteX17" fmla="*/ 108285 w 149780"/>
                <a:gd name="connsiteY17" fmla="*/ 75569 h 202570"/>
                <a:gd name="connsiteX18" fmla="*/ 107934 w 149780"/>
                <a:gd name="connsiteY18" fmla="*/ 77910 h 202570"/>
                <a:gd name="connsiteX19" fmla="*/ 89042 w 149780"/>
                <a:gd name="connsiteY19" fmla="*/ 88105 h 202570"/>
                <a:gd name="connsiteX20" fmla="*/ 49244 w 149780"/>
                <a:gd name="connsiteY20" fmla="*/ 88105 h 202570"/>
                <a:gd name="connsiteX21" fmla="*/ 49244 w 149780"/>
                <a:gd name="connsiteY21" fmla="*/ 19829 h 202570"/>
                <a:gd name="connsiteX22" fmla="*/ 102550 w 149780"/>
                <a:gd name="connsiteY22" fmla="*/ 19829 h 202570"/>
                <a:gd name="connsiteX23" fmla="*/ 124310 w 149780"/>
                <a:gd name="connsiteY23" fmla="*/ 34226 h 202570"/>
                <a:gd name="connsiteX24" fmla="*/ 124883 w 149780"/>
                <a:gd name="connsiteY24" fmla="*/ 36286 h 202570"/>
                <a:gd name="connsiteX25" fmla="*/ 140100 w 149780"/>
                <a:gd name="connsiteY25" fmla="*/ 36286 h 202570"/>
                <a:gd name="connsiteX26" fmla="*/ 137595 w 149780"/>
                <a:gd name="connsiteY26" fmla="*/ 0 h 202570"/>
                <a:gd name="connsiteX27" fmla="*/ 222 w 149780"/>
                <a:gd name="connsiteY27" fmla="*/ 0 h 202570"/>
                <a:gd name="connsiteX28" fmla="*/ 222 w 149780"/>
                <a:gd name="connsiteY28" fmla="*/ 14198 h 202570"/>
                <a:gd name="connsiteX29" fmla="*/ 2798 w 149780"/>
                <a:gd name="connsiteY29" fmla="*/ 14374 h 202570"/>
                <a:gd name="connsiteX30" fmla="*/ 10207 w 149780"/>
                <a:gd name="connsiteY30" fmla="*/ 32412 h 2025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149780" h="202570">
                  <a:moveTo>
                    <a:pt x="10184" y="176725"/>
                  </a:moveTo>
                  <a:cubicBezTo>
                    <a:pt x="9973" y="184626"/>
                    <a:pt x="9774" y="187260"/>
                    <a:pt x="2540" y="187986"/>
                  </a:cubicBezTo>
                  <a:lnTo>
                    <a:pt x="0" y="188232"/>
                  </a:lnTo>
                  <a:lnTo>
                    <a:pt x="0" y="202571"/>
                  </a:lnTo>
                  <a:lnTo>
                    <a:pt x="144864" y="202571"/>
                  </a:lnTo>
                  <a:lnTo>
                    <a:pt x="149780" y="162059"/>
                  </a:lnTo>
                  <a:lnTo>
                    <a:pt x="134563" y="162176"/>
                  </a:lnTo>
                  <a:lnTo>
                    <a:pt x="133943" y="164107"/>
                  </a:lnTo>
                  <a:cubicBezTo>
                    <a:pt x="127927" y="182964"/>
                    <a:pt x="121734" y="182906"/>
                    <a:pt x="101379" y="182754"/>
                  </a:cubicBezTo>
                  <a:lnTo>
                    <a:pt x="64192" y="182754"/>
                  </a:lnTo>
                  <a:cubicBezTo>
                    <a:pt x="49654" y="182754"/>
                    <a:pt x="49244" y="179909"/>
                    <a:pt x="49244" y="162749"/>
                  </a:cubicBezTo>
                  <a:lnTo>
                    <a:pt x="49244" y="107875"/>
                  </a:lnTo>
                  <a:lnTo>
                    <a:pt x="89042" y="107875"/>
                  </a:lnTo>
                  <a:cubicBezTo>
                    <a:pt x="102292" y="107875"/>
                    <a:pt x="105066" y="108168"/>
                    <a:pt x="107630" y="118878"/>
                  </a:cubicBezTo>
                  <a:lnTo>
                    <a:pt x="108051" y="121219"/>
                  </a:lnTo>
                  <a:lnTo>
                    <a:pt x="122542" y="121219"/>
                  </a:lnTo>
                  <a:lnTo>
                    <a:pt x="122542" y="75569"/>
                  </a:lnTo>
                  <a:lnTo>
                    <a:pt x="108285" y="75569"/>
                  </a:lnTo>
                  <a:lnTo>
                    <a:pt x="107934" y="77910"/>
                  </a:lnTo>
                  <a:cubicBezTo>
                    <a:pt x="106248" y="87368"/>
                    <a:pt x="103158" y="88105"/>
                    <a:pt x="89042" y="88105"/>
                  </a:cubicBezTo>
                  <a:lnTo>
                    <a:pt x="49244" y="88105"/>
                  </a:lnTo>
                  <a:lnTo>
                    <a:pt x="49244" y="19829"/>
                  </a:lnTo>
                  <a:lnTo>
                    <a:pt x="102550" y="19829"/>
                  </a:lnTo>
                  <a:cubicBezTo>
                    <a:pt x="116233" y="19829"/>
                    <a:pt x="120716" y="19829"/>
                    <a:pt x="124310" y="34226"/>
                  </a:cubicBezTo>
                  <a:lnTo>
                    <a:pt x="124883" y="36286"/>
                  </a:lnTo>
                  <a:lnTo>
                    <a:pt x="140100" y="36286"/>
                  </a:lnTo>
                  <a:lnTo>
                    <a:pt x="137595" y="0"/>
                  </a:lnTo>
                  <a:lnTo>
                    <a:pt x="222" y="0"/>
                  </a:lnTo>
                  <a:lnTo>
                    <a:pt x="222" y="14198"/>
                  </a:lnTo>
                  <a:lnTo>
                    <a:pt x="2798" y="14374"/>
                  </a:lnTo>
                  <a:cubicBezTo>
                    <a:pt x="10102" y="15252"/>
                    <a:pt x="10113" y="17886"/>
                    <a:pt x="10207" y="32412"/>
                  </a:cubicBezTo>
                  <a:close/>
                </a:path>
              </a:pathLst>
            </a:custGeom>
            <a:solidFill>
              <a:srgbClr val="000000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26" name="Freihandform: Form 10">
              <a:extLst>
                <a:ext uri="{FF2B5EF4-FFF2-40B4-BE49-F238E27FC236}">
                  <a16:creationId xmlns:a16="http://schemas.microsoft.com/office/drawing/2014/main" id="{AC078878-05C7-ADF7-2794-E235A74103FD}"/>
                </a:ext>
              </a:extLst>
            </p:cNvPr>
            <p:cNvSpPr/>
            <p:nvPr/>
          </p:nvSpPr>
          <p:spPr>
            <a:xfrm>
              <a:off x="11496262" y="332657"/>
              <a:ext cx="216465" cy="208540"/>
            </a:xfrm>
            <a:custGeom>
              <a:avLst/>
              <a:gdLst>
                <a:gd name="connsiteX0" fmla="*/ 145742 w 216465"/>
                <a:gd name="connsiteY0" fmla="*/ 131087 h 208540"/>
                <a:gd name="connsiteX1" fmla="*/ 125609 w 216465"/>
                <a:gd name="connsiteY1" fmla="*/ 111902 h 208540"/>
                <a:gd name="connsiteX2" fmla="*/ 162609 w 216465"/>
                <a:gd name="connsiteY2" fmla="*/ 59556 h 208540"/>
                <a:gd name="connsiteX3" fmla="*/ 74738 w 216465"/>
                <a:gd name="connsiteY3" fmla="*/ 0 h 208540"/>
                <a:gd name="connsiteX4" fmla="*/ 36321 w 216465"/>
                <a:gd name="connsiteY4" fmla="*/ 632 h 208540"/>
                <a:gd name="connsiteX5" fmla="*/ 15147 w 216465"/>
                <a:gd name="connsiteY5" fmla="*/ 1662 h 208540"/>
                <a:gd name="connsiteX6" fmla="*/ 6450 w 216465"/>
                <a:gd name="connsiteY6" fmla="*/ 2247 h 208540"/>
                <a:gd name="connsiteX7" fmla="*/ 6450 w 216465"/>
                <a:gd name="connsiteY7" fmla="*/ 16586 h 208540"/>
                <a:gd name="connsiteX8" fmla="*/ 8978 w 216465"/>
                <a:gd name="connsiteY8" fmla="*/ 16703 h 208540"/>
                <a:gd name="connsiteX9" fmla="*/ 17698 w 216465"/>
                <a:gd name="connsiteY9" fmla="*/ 25061 h 208540"/>
                <a:gd name="connsiteX10" fmla="*/ 17581 w 216465"/>
                <a:gd name="connsiteY10" fmla="*/ 173413 h 208540"/>
                <a:gd name="connsiteX11" fmla="*/ 2669 w 216465"/>
                <a:gd name="connsiteY11" fmla="*/ 191486 h 208540"/>
                <a:gd name="connsiteX12" fmla="*/ 0 w 216465"/>
                <a:gd name="connsiteY12" fmla="*/ 191626 h 208540"/>
                <a:gd name="connsiteX13" fmla="*/ 0 w 216465"/>
                <a:gd name="connsiteY13" fmla="*/ 205672 h 208540"/>
                <a:gd name="connsiteX14" fmla="*/ 76435 w 216465"/>
                <a:gd name="connsiteY14" fmla="*/ 205672 h 208540"/>
                <a:gd name="connsiteX15" fmla="*/ 76435 w 216465"/>
                <a:gd name="connsiteY15" fmla="*/ 191544 h 208540"/>
                <a:gd name="connsiteX16" fmla="*/ 73790 w 216465"/>
                <a:gd name="connsiteY16" fmla="*/ 191544 h 208540"/>
                <a:gd name="connsiteX17" fmla="*/ 58374 w 216465"/>
                <a:gd name="connsiteY17" fmla="*/ 164353 h 208540"/>
                <a:gd name="connsiteX18" fmla="*/ 58374 w 216465"/>
                <a:gd name="connsiteY18" fmla="*/ 124192 h 208540"/>
                <a:gd name="connsiteX19" fmla="*/ 82651 w 216465"/>
                <a:gd name="connsiteY19" fmla="*/ 123982 h 208540"/>
                <a:gd name="connsiteX20" fmla="*/ 115425 w 216465"/>
                <a:gd name="connsiteY20" fmla="*/ 153526 h 208540"/>
                <a:gd name="connsiteX21" fmla="*/ 132035 w 216465"/>
                <a:gd name="connsiteY21" fmla="*/ 170276 h 208540"/>
                <a:gd name="connsiteX22" fmla="*/ 141926 w 216465"/>
                <a:gd name="connsiteY22" fmla="*/ 180612 h 208540"/>
                <a:gd name="connsiteX23" fmla="*/ 148797 w 216465"/>
                <a:gd name="connsiteY23" fmla="*/ 188232 h 208540"/>
                <a:gd name="connsiteX24" fmla="*/ 201798 w 216465"/>
                <a:gd name="connsiteY24" fmla="*/ 208540 h 208540"/>
                <a:gd name="connsiteX25" fmla="*/ 213281 w 216465"/>
                <a:gd name="connsiteY25" fmla="*/ 208376 h 208540"/>
                <a:gd name="connsiteX26" fmla="*/ 216465 w 216465"/>
                <a:gd name="connsiteY26" fmla="*/ 208306 h 208540"/>
                <a:gd name="connsiteX27" fmla="*/ 216465 w 216465"/>
                <a:gd name="connsiteY27" fmla="*/ 194201 h 208540"/>
                <a:gd name="connsiteX28" fmla="*/ 213504 w 216465"/>
                <a:gd name="connsiteY28" fmla="*/ 193932 h 208540"/>
                <a:gd name="connsiteX29" fmla="*/ 213504 w 216465"/>
                <a:gd name="connsiteY29" fmla="*/ 193932 h 208540"/>
                <a:gd name="connsiteX30" fmla="*/ 190316 w 216465"/>
                <a:gd name="connsiteY30" fmla="*/ 177159 h 208540"/>
                <a:gd name="connsiteX31" fmla="*/ 171131 w 216465"/>
                <a:gd name="connsiteY31" fmla="*/ 156967 h 208540"/>
                <a:gd name="connsiteX32" fmla="*/ 119031 w 216465"/>
                <a:gd name="connsiteY32" fmla="*/ 62728 h 208540"/>
                <a:gd name="connsiteX33" fmla="*/ 65713 w 216465"/>
                <a:gd name="connsiteY33" fmla="*/ 110041 h 208540"/>
                <a:gd name="connsiteX34" fmla="*/ 58397 w 216465"/>
                <a:gd name="connsiteY34" fmla="*/ 109725 h 208540"/>
                <a:gd name="connsiteX35" fmla="*/ 58397 w 216465"/>
                <a:gd name="connsiteY35" fmla="*/ 15334 h 208540"/>
                <a:gd name="connsiteX36" fmla="*/ 71542 w 216465"/>
                <a:gd name="connsiteY36" fmla="*/ 15182 h 208540"/>
                <a:gd name="connsiteX37" fmla="*/ 119031 w 216465"/>
                <a:gd name="connsiteY37" fmla="*/ 62728 h 2085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16465" h="208540">
                  <a:moveTo>
                    <a:pt x="145742" y="131087"/>
                  </a:moveTo>
                  <a:cubicBezTo>
                    <a:pt x="143541" y="128874"/>
                    <a:pt x="132632" y="117930"/>
                    <a:pt x="125609" y="111902"/>
                  </a:cubicBezTo>
                  <a:cubicBezTo>
                    <a:pt x="150190" y="100325"/>
                    <a:pt x="162609" y="82721"/>
                    <a:pt x="162609" y="59556"/>
                  </a:cubicBezTo>
                  <a:cubicBezTo>
                    <a:pt x="162609" y="41647"/>
                    <a:pt x="154053" y="0"/>
                    <a:pt x="74738" y="0"/>
                  </a:cubicBezTo>
                  <a:cubicBezTo>
                    <a:pt x="68242" y="0"/>
                    <a:pt x="53037" y="0"/>
                    <a:pt x="36321" y="632"/>
                  </a:cubicBezTo>
                  <a:cubicBezTo>
                    <a:pt x="26243" y="1077"/>
                    <a:pt x="20332" y="1393"/>
                    <a:pt x="15147" y="1662"/>
                  </a:cubicBezTo>
                  <a:lnTo>
                    <a:pt x="6450" y="2247"/>
                  </a:lnTo>
                  <a:lnTo>
                    <a:pt x="6450" y="16586"/>
                  </a:lnTo>
                  <a:lnTo>
                    <a:pt x="8978" y="16703"/>
                  </a:lnTo>
                  <a:cubicBezTo>
                    <a:pt x="15240" y="17160"/>
                    <a:pt x="17616" y="18787"/>
                    <a:pt x="17698" y="25061"/>
                  </a:cubicBezTo>
                  <a:lnTo>
                    <a:pt x="17581" y="173413"/>
                  </a:lnTo>
                  <a:cubicBezTo>
                    <a:pt x="17195" y="185715"/>
                    <a:pt x="16411" y="190842"/>
                    <a:pt x="2669" y="191486"/>
                  </a:cubicBezTo>
                  <a:lnTo>
                    <a:pt x="0" y="191626"/>
                  </a:lnTo>
                  <a:lnTo>
                    <a:pt x="0" y="205672"/>
                  </a:lnTo>
                  <a:lnTo>
                    <a:pt x="76435" y="205672"/>
                  </a:lnTo>
                  <a:lnTo>
                    <a:pt x="76435" y="191544"/>
                  </a:lnTo>
                  <a:lnTo>
                    <a:pt x="73790" y="191544"/>
                  </a:lnTo>
                  <a:cubicBezTo>
                    <a:pt x="58362" y="190783"/>
                    <a:pt x="58374" y="187260"/>
                    <a:pt x="58374" y="164353"/>
                  </a:cubicBezTo>
                  <a:lnTo>
                    <a:pt x="58374" y="124192"/>
                  </a:lnTo>
                  <a:cubicBezTo>
                    <a:pt x="66462" y="124664"/>
                    <a:pt x="74574" y="124593"/>
                    <a:pt x="82651" y="123982"/>
                  </a:cubicBezTo>
                  <a:cubicBezTo>
                    <a:pt x="95000" y="133205"/>
                    <a:pt x="99635" y="137583"/>
                    <a:pt x="115425" y="153526"/>
                  </a:cubicBezTo>
                  <a:lnTo>
                    <a:pt x="132035" y="170276"/>
                  </a:lnTo>
                  <a:cubicBezTo>
                    <a:pt x="135804" y="174092"/>
                    <a:pt x="139058" y="177556"/>
                    <a:pt x="141926" y="180612"/>
                  </a:cubicBezTo>
                  <a:cubicBezTo>
                    <a:pt x="144525" y="183374"/>
                    <a:pt x="146784" y="185949"/>
                    <a:pt x="148797" y="188232"/>
                  </a:cubicBezTo>
                  <a:cubicBezTo>
                    <a:pt x="161087" y="202173"/>
                    <a:pt x="166706" y="208540"/>
                    <a:pt x="201798" y="208540"/>
                  </a:cubicBezTo>
                  <a:cubicBezTo>
                    <a:pt x="205310" y="208540"/>
                    <a:pt x="209044" y="208540"/>
                    <a:pt x="213281" y="208376"/>
                  </a:cubicBezTo>
                  <a:lnTo>
                    <a:pt x="216465" y="208306"/>
                  </a:lnTo>
                  <a:lnTo>
                    <a:pt x="216465" y="194201"/>
                  </a:lnTo>
                  <a:lnTo>
                    <a:pt x="213504" y="193932"/>
                  </a:lnTo>
                  <a:lnTo>
                    <a:pt x="213504" y="193932"/>
                  </a:lnTo>
                  <a:cubicBezTo>
                    <a:pt x="205228" y="193160"/>
                    <a:pt x="200253" y="187810"/>
                    <a:pt x="190316" y="177159"/>
                  </a:cubicBezTo>
                  <a:lnTo>
                    <a:pt x="171131" y="156967"/>
                  </a:lnTo>
                  <a:close/>
                  <a:moveTo>
                    <a:pt x="119031" y="62728"/>
                  </a:moveTo>
                  <a:cubicBezTo>
                    <a:pt x="119031" y="95210"/>
                    <a:pt x="104247" y="108554"/>
                    <a:pt x="65713" y="110041"/>
                  </a:cubicBezTo>
                  <a:cubicBezTo>
                    <a:pt x="64543" y="110041"/>
                    <a:pt x="61195" y="110041"/>
                    <a:pt x="58397" y="109725"/>
                  </a:cubicBezTo>
                  <a:lnTo>
                    <a:pt x="58397" y="15334"/>
                  </a:lnTo>
                  <a:cubicBezTo>
                    <a:pt x="62225" y="15182"/>
                    <a:pt x="68101" y="15182"/>
                    <a:pt x="71542" y="15182"/>
                  </a:cubicBezTo>
                  <a:cubicBezTo>
                    <a:pt x="103193" y="15170"/>
                    <a:pt x="119031" y="31159"/>
                    <a:pt x="119031" y="62728"/>
                  </a:cubicBezTo>
                  <a:close/>
                </a:path>
              </a:pathLst>
            </a:custGeom>
            <a:solidFill>
              <a:srgbClr val="000000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27" name="Freihandform: Form 11">
              <a:extLst>
                <a:ext uri="{FF2B5EF4-FFF2-40B4-BE49-F238E27FC236}">
                  <a16:creationId xmlns:a16="http://schemas.microsoft.com/office/drawing/2014/main" id="{C57FEAAF-91A0-1B23-C519-C99629CC5470}"/>
                </a:ext>
              </a:extLst>
            </p:cNvPr>
            <p:cNvSpPr/>
            <p:nvPr/>
          </p:nvSpPr>
          <p:spPr>
            <a:xfrm>
              <a:off x="10830304" y="335724"/>
              <a:ext cx="207171" cy="202652"/>
            </a:xfrm>
            <a:custGeom>
              <a:avLst/>
              <a:gdLst>
                <a:gd name="connsiteX0" fmla="*/ 121430 w 207171"/>
                <a:gd name="connsiteY0" fmla="*/ 0 h 202652"/>
                <a:gd name="connsiteX1" fmla="*/ 90762 w 207171"/>
                <a:gd name="connsiteY1" fmla="*/ 0 h 202652"/>
                <a:gd name="connsiteX2" fmla="*/ 24979 w 207171"/>
                <a:gd name="connsiteY2" fmla="*/ 164529 h 202652"/>
                <a:gd name="connsiteX3" fmla="*/ 2610 w 207171"/>
                <a:gd name="connsiteY3" fmla="*/ 188431 h 202652"/>
                <a:gd name="connsiteX4" fmla="*/ 0 w 207171"/>
                <a:gd name="connsiteY4" fmla="*/ 188606 h 202652"/>
                <a:gd name="connsiteX5" fmla="*/ 0 w 207171"/>
                <a:gd name="connsiteY5" fmla="*/ 202652 h 202652"/>
                <a:gd name="connsiteX6" fmla="*/ 56735 w 207171"/>
                <a:gd name="connsiteY6" fmla="*/ 202652 h 202652"/>
                <a:gd name="connsiteX7" fmla="*/ 56735 w 207171"/>
                <a:gd name="connsiteY7" fmla="*/ 188712 h 202652"/>
                <a:gd name="connsiteX8" fmla="*/ 54184 w 207171"/>
                <a:gd name="connsiteY8" fmla="*/ 188489 h 202652"/>
                <a:gd name="connsiteX9" fmla="*/ 41530 w 207171"/>
                <a:gd name="connsiteY9" fmla="*/ 178879 h 202652"/>
                <a:gd name="connsiteX10" fmla="*/ 44562 w 207171"/>
                <a:gd name="connsiteY10" fmla="*/ 167478 h 202652"/>
                <a:gd name="connsiteX11" fmla="*/ 59779 w 207171"/>
                <a:gd name="connsiteY11" fmla="*/ 128196 h 202652"/>
                <a:gd name="connsiteX12" fmla="*/ 129706 w 207171"/>
                <a:gd name="connsiteY12" fmla="*/ 128196 h 202652"/>
                <a:gd name="connsiteX13" fmla="*/ 144923 w 207171"/>
                <a:gd name="connsiteY13" fmla="*/ 167385 h 202652"/>
                <a:gd name="connsiteX14" fmla="*/ 148844 w 207171"/>
                <a:gd name="connsiteY14" fmla="*/ 179734 h 202652"/>
                <a:gd name="connsiteX15" fmla="*/ 148937 w 207171"/>
                <a:gd name="connsiteY15" fmla="*/ 180202 h 202652"/>
                <a:gd name="connsiteX16" fmla="*/ 147896 w 207171"/>
                <a:gd name="connsiteY16" fmla="*/ 184802 h 202652"/>
                <a:gd name="connsiteX17" fmla="*/ 136577 w 207171"/>
                <a:gd name="connsiteY17" fmla="*/ 188243 h 202652"/>
                <a:gd name="connsiteX18" fmla="*/ 134002 w 207171"/>
                <a:gd name="connsiteY18" fmla="*/ 188442 h 202652"/>
                <a:gd name="connsiteX19" fmla="*/ 134002 w 207171"/>
                <a:gd name="connsiteY19" fmla="*/ 202606 h 202652"/>
                <a:gd name="connsiteX20" fmla="*/ 207171 w 207171"/>
                <a:gd name="connsiteY20" fmla="*/ 202606 h 202652"/>
                <a:gd name="connsiteX21" fmla="*/ 207171 w 207171"/>
                <a:gd name="connsiteY21" fmla="*/ 188700 h 202652"/>
                <a:gd name="connsiteX22" fmla="*/ 204502 w 207171"/>
                <a:gd name="connsiteY22" fmla="*/ 188559 h 202652"/>
                <a:gd name="connsiteX23" fmla="*/ 184603 w 207171"/>
                <a:gd name="connsiteY23" fmla="*/ 167759 h 202652"/>
                <a:gd name="connsiteX24" fmla="*/ 121641 w 207171"/>
                <a:gd name="connsiteY24" fmla="*/ 107161 h 202652"/>
                <a:gd name="connsiteX25" fmla="*/ 67797 w 207171"/>
                <a:gd name="connsiteY25" fmla="*/ 107161 h 202652"/>
                <a:gd name="connsiteX26" fmla="*/ 95140 w 207171"/>
                <a:gd name="connsiteY26" fmla="*/ 37012 h 2026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207171" h="202652">
                  <a:moveTo>
                    <a:pt x="121430" y="0"/>
                  </a:moveTo>
                  <a:lnTo>
                    <a:pt x="90762" y="0"/>
                  </a:lnTo>
                  <a:lnTo>
                    <a:pt x="24979" y="164529"/>
                  </a:lnTo>
                  <a:cubicBezTo>
                    <a:pt x="17172" y="183994"/>
                    <a:pt x="15755" y="187506"/>
                    <a:pt x="2610" y="188431"/>
                  </a:cubicBezTo>
                  <a:lnTo>
                    <a:pt x="0" y="188606"/>
                  </a:lnTo>
                  <a:lnTo>
                    <a:pt x="0" y="202652"/>
                  </a:lnTo>
                  <a:lnTo>
                    <a:pt x="56735" y="202652"/>
                  </a:lnTo>
                  <a:lnTo>
                    <a:pt x="56735" y="188712"/>
                  </a:lnTo>
                  <a:lnTo>
                    <a:pt x="54184" y="188489"/>
                  </a:lnTo>
                  <a:cubicBezTo>
                    <a:pt x="43649" y="187319"/>
                    <a:pt x="41202" y="183315"/>
                    <a:pt x="41530" y="178879"/>
                  </a:cubicBezTo>
                  <a:cubicBezTo>
                    <a:pt x="41741" y="176105"/>
                    <a:pt x="42572" y="172839"/>
                    <a:pt x="44562" y="167478"/>
                  </a:cubicBezTo>
                  <a:lnTo>
                    <a:pt x="59779" y="128196"/>
                  </a:lnTo>
                  <a:lnTo>
                    <a:pt x="129706" y="128196"/>
                  </a:lnTo>
                  <a:lnTo>
                    <a:pt x="144923" y="167385"/>
                  </a:lnTo>
                  <a:cubicBezTo>
                    <a:pt x="147369" y="174326"/>
                    <a:pt x="147907" y="175672"/>
                    <a:pt x="148844" y="179734"/>
                  </a:cubicBezTo>
                  <a:lnTo>
                    <a:pt x="148937" y="180202"/>
                  </a:lnTo>
                  <a:cubicBezTo>
                    <a:pt x="149324" y="181814"/>
                    <a:pt x="148939" y="183513"/>
                    <a:pt x="147896" y="184802"/>
                  </a:cubicBezTo>
                  <a:cubicBezTo>
                    <a:pt x="146421" y="186651"/>
                    <a:pt x="142780" y="187763"/>
                    <a:pt x="136577" y="188243"/>
                  </a:cubicBezTo>
                  <a:lnTo>
                    <a:pt x="134002" y="188442"/>
                  </a:lnTo>
                  <a:lnTo>
                    <a:pt x="134002" y="202606"/>
                  </a:lnTo>
                  <a:lnTo>
                    <a:pt x="207171" y="202606"/>
                  </a:lnTo>
                  <a:lnTo>
                    <a:pt x="207171" y="188700"/>
                  </a:lnTo>
                  <a:lnTo>
                    <a:pt x="204502" y="188559"/>
                  </a:lnTo>
                  <a:cubicBezTo>
                    <a:pt x="191989" y="187986"/>
                    <a:pt x="190854" y="184896"/>
                    <a:pt x="184603" y="167759"/>
                  </a:cubicBezTo>
                  <a:close/>
                  <a:moveTo>
                    <a:pt x="121641" y="107161"/>
                  </a:moveTo>
                  <a:lnTo>
                    <a:pt x="67797" y="107161"/>
                  </a:lnTo>
                  <a:lnTo>
                    <a:pt x="95140" y="37012"/>
                  </a:lnTo>
                  <a:close/>
                </a:path>
              </a:pathLst>
            </a:custGeom>
            <a:solidFill>
              <a:srgbClr val="000000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28" name="Freihandform: Form 12">
              <a:extLst>
                <a:ext uri="{FF2B5EF4-FFF2-40B4-BE49-F238E27FC236}">
                  <a16:creationId xmlns:a16="http://schemas.microsoft.com/office/drawing/2014/main" id="{AB240BAD-D6E8-5BBF-CABD-A0FC29C6BB60}"/>
                </a:ext>
              </a:extLst>
            </p:cNvPr>
            <p:cNvSpPr/>
            <p:nvPr/>
          </p:nvSpPr>
          <p:spPr>
            <a:xfrm>
              <a:off x="11256925" y="330434"/>
              <a:ext cx="218794" cy="212964"/>
            </a:xfrm>
            <a:custGeom>
              <a:avLst/>
              <a:gdLst>
                <a:gd name="connsiteX0" fmla="*/ 109397 w 218794"/>
                <a:gd name="connsiteY0" fmla="*/ 0 h 212964"/>
                <a:gd name="connsiteX1" fmla="*/ 0 w 218794"/>
                <a:gd name="connsiteY1" fmla="*/ 111878 h 212964"/>
                <a:gd name="connsiteX2" fmla="*/ 108227 w 218794"/>
                <a:gd name="connsiteY2" fmla="*/ 212965 h 212964"/>
                <a:gd name="connsiteX3" fmla="*/ 218794 w 218794"/>
                <a:gd name="connsiteY3" fmla="*/ 102994 h 212964"/>
                <a:gd name="connsiteX4" fmla="*/ 109397 w 218794"/>
                <a:gd name="connsiteY4" fmla="*/ 0 h 212964"/>
                <a:gd name="connsiteX5" fmla="*/ 177861 w 218794"/>
                <a:gd name="connsiteY5" fmla="*/ 110919 h 212964"/>
                <a:gd name="connsiteX6" fmla="*/ 112897 w 218794"/>
                <a:gd name="connsiteY6" fmla="*/ 197210 h 212964"/>
                <a:gd name="connsiteX7" fmla="*/ 40945 w 218794"/>
                <a:gd name="connsiteY7" fmla="*/ 103310 h 212964"/>
                <a:gd name="connsiteX8" fmla="*/ 107056 w 218794"/>
                <a:gd name="connsiteY8" fmla="*/ 15744 h 212964"/>
                <a:gd name="connsiteX9" fmla="*/ 177861 w 218794"/>
                <a:gd name="connsiteY9" fmla="*/ 110919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18794" h="212964">
                  <a:moveTo>
                    <a:pt x="109397" y="0"/>
                  </a:moveTo>
                  <a:cubicBezTo>
                    <a:pt x="45966" y="0"/>
                    <a:pt x="0" y="47043"/>
                    <a:pt x="0" y="111878"/>
                  </a:cubicBezTo>
                  <a:cubicBezTo>
                    <a:pt x="0" y="170405"/>
                    <a:pt x="45522" y="212965"/>
                    <a:pt x="108227" y="212965"/>
                  </a:cubicBezTo>
                  <a:cubicBezTo>
                    <a:pt x="171259" y="212965"/>
                    <a:pt x="218794" y="165687"/>
                    <a:pt x="218794" y="102994"/>
                  </a:cubicBezTo>
                  <a:cubicBezTo>
                    <a:pt x="218794" y="42349"/>
                    <a:pt x="173811" y="0"/>
                    <a:pt x="109397" y="0"/>
                  </a:cubicBezTo>
                  <a:close/>
                  <a:moveTo>
                    <a:pt x="177861" y="110919"/>
                  </a:moveTo>
                  <a:cubicBezTo>
                    <a:pt x="177861" y="162539"/>
                    <a:pt x="151758" y="197210"/>
                    <a:pt x="112897" y="197210"/>
                  </a:cubicBezTo>
                  <a:cubicBezTo>
                    <a:pt x="77138" y="197210"/>
                    <a:pt x="40945" y="164950"/>
                    <a:pt x="40945" y="103310"/>
                  </a:cubicBezTo>
                  <a:cubicBezTo>
                    <a:pt x="40945" y="49302"/>
                    <a:pt x="66275" y="15744"/>
                    <a:pt x="107056" y="15744"/>
                  </a:cubicBezTo>
                  <a:cubicBezTo>
                    <a:pt x="148738" y="15744"/>
                    <a:pt x="177861" y="54886"/>
                    <a:pt x="177861" y="110919"/>
                  </a:cubicBezTo>
                  <a:close/>
                </a:path>
              </a:pathLst>
            </a:custGeom>
            <a:solidFill>
              <a:srgbClr val="000000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29" name="Freihandform: Form 13">
              <a:extLst>
                <a:ext uri="{FF2B5EF4-FFF2-40B4-BE49-F238E27FC236}">
                  <a16:creationId xmlns:a16="http://schemas.microsoft.com/office/drawing/2014/main" id="{9447A619-77A2-7E51-9800-E9C3ABBC0A6D}"/>
                </a:ext>
              </a:extLst>
            </p:cNvPr>
            <p:cNvSpPr/>
            <p:nvPr/>
          </p:nvSpPr>
          <p:spPr>
            <a:xfrm>
              <a:off x="11045727" y="330434"/>
              <a:ext cx="196811" cy="212964"/>
            </a:xfrm>
            <a:custGeom>
              <a:avLst/>
              <a:gdLst>
                <a:gd name="connsiteX0" fmla="*/ 196812 w 196811"/>
                <a:gd name="connsiteY0" fmla="*/ 165348 h 212964"/>
                <a:gd name="connsiteX1" fmla="*/ 180635 w 196811"/>
                <a:gd name="connsiteY1" fmla="*/ 165547 h 212964"/>
                <a:gd name="connsiteX2" fmla="*/ 179828 w 196811"/>
                <a:gd name="connsiteY2" fmla="*/ 166659 h 212964"/>
                <a:gd name="connsiteX3" fmla="*/ 118960 w 196811"/>
                <a:gd name="connsiteY3" fmla="*/ 195922 h 212964"/>
                <a:gd name="connsiteX4" fmla="*/ 70255 w 196811"/>
                <a:gd name="connsiteY4" fmla="*/ 176585 h 212964"/>
                <a:gd name="connsiteX5" fmla="*/ 41729 w 196811"/>
                <a:gd name="connsiteY5" fmla="*/ 102023 h 212964"/>
                <a:gd name="connsiteX6" fmla="*/ 113623 w 196811"/>
                <a:gd name="connsiteY6" fmla="*/ 15720 h 212964"/>
                <a:gd name="connsiteX7" fmla="*/ 179359 w 196811"/>
                <a:gd name="connsiteY7" fmla="*/ 50391 h 212964"/>
                <a:gd name="connsiteX8" fmla="*/ 180155 w 196811"/>
                <a:gd name="connsiteY8" fmla="*/ 51959 h 212964"/>
                <a:gd name="connsiteX9" fmla="*/ 193558 w 196811"/>
                <a:gd name="connsiteY9" fmla="*/ 51749 h 212964"/>
                <a:gd name="connsiteX10" fmla="*/ 192259 w 196811"/>
                <a:gd name="connsiteY10" fmla="*/ 9142 h 212964"/>
                <a:gd name="connsiteX11" fmla="*/ 181267 w 196811"/>
                <a:gd name="connsiteY11" fmla="*/ 9142 h 212964"/>
                <a:gd name="connsiteX12" fmla="*/ 180694 w 196811"/>
                <a:gd name="connsiteY12" fmla="*/ 9528 h 212964"/>
                <a:gd name="connsiteX13" fmla="*/ 176515 w 196811"/>
                <a:gd name="connsiteY13" fmla="*/ 10453 h 212964"/>
                <a:gd name="connsiteX14" fmla="*/ 163768 w 196811"/>
                <a:gd name="connsiteY14" fmla="*/ 7761 h 212964"/>
                <a:gd name="connsiteX15" fmla="*/ 112441 w 196811"/>
                <a:gd name="connsiteY15" fmla="*/ 0 h 212964"/>
                <a:gd name="connsiteX16" fmla="*/ 0 w 196811"/>
                <a:gd name="connsiteY16" fmla="*/ 110275 h 212964"/>
                <a:gd name="connsiteX17" fmla="*/ 110029 w 196811"/>
                <a:gd name="connsiteY17" fmla="*/ 212965 h 212964"/>
                <a:gd name="connsiteX18" fmla="*/ 149382 w 196811"/>
                <a:gd name="connsiteY18" fmla="*/ 208411 h 212964"/>
                <a:gd name="connsiteX19" fmla="*/ 169808 w 196811"/>
                <a:gd name="connsiteY19" fmla="*/ 205661 h 212964"/>
                <a:gd name="connsiteX20" fmla="*/ 172804 w 196811"/>
                <a:gd name="connsiteY20" fmla="*/ 205567 h 212964"/>
                <a:gd name="connsiteX21" fmla="*/ 179406 w 196811"/>
                <a:gd name="connsiteY21" fmla="*/ 205719 h 212964"/>
                <a:gd name="connsiteX22" fmla="*/ 182414 w 196811"/>
                <a:gd name="connsiteY22" fmla="*/ 206012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96811" h="212964">
                  <a:moveTo>
                    <a:pt x="196812" y="165348"/>
                  </a:moveTo>
                  <a:lnTo>
                    <a:pt x="180635" y="165547"/>
                  </a:lnTo>
                  <a:lnTo>
                    <a:pt x="179828" y="166659"/>
                  </a:lnTo>
                  <a:cubicBezTo>
                    <a:pt x="163440" y="186839"/>
                    <a:pt x="146315" y="195044"/>
                    <a:pt x="118960" y="195922"/>
                  </a:cubicBezTo>
                  <a:cubicBezTo>
                    <a:pt x="100712" y="196577"/>
                    <a:pt x="83927" y="189824"/>
                    <a:pt x="70255" y="176585"/>
                  </a:cubicBezTo>
                  <a:cubicBezTo>
                    <a:pt x="52123" y="159027"/>
                    <a:pt x="41729" y="131859"/>
                    <a:pt x="41729" y="102023"/>
                  </a:cubicBezTo>
                  <a:cubicBezTo>
                    <a:pt x="41729" y="50403"/>
                    <a:pt x="70618" y="15720"/>
                    <a:pt x="113623" y="15720"/>
                  </a:cubicBezTo>
                  <a:cubicBezTo>
                    <a:pt x="143799" y="15720"/>
                    <a:pt x="168989" y="28994"/>
                    <a:pt x="179359" y="50391"/>
                  </a:cubicBezTo>
                  <a:lnTo>
                    <a:pt x="180155" y="51959"/>
                  </a:lnTo>
                  <a:lnTo>
                    <a:pt x="193558" y="51749"/>
                  </a:lnTo>
                  <a:lnTo>
                    <a:pt x="192259" y="9142"/>
                  </a:lnTo>
                  <a:lnTo>
                    <a:pt x="181267" y="9142"/>
                  </a:lnTo>
                  <a:lnTo>
                    <a:pt x="180694" y="9528"/>
                  </a:lnTo>
                  <a:cubicBezTo>
                    <a:pt x="179431" y="10264"/>
                    <a:pt x="177970" y="10587"/>
                    <a:pt x="176515" y="10453"/>
                  </a:cubicBezTo>
                  <a:cubicBezTo>
                    <a:pt x="173928" y="10359"/>
                    <a:pt x="169492" y="9282"/>
                    <a:pt x="163768" y="7761"/>
                  </a:cubicBezTo>
                  <a:cubicBezTo>
                    <a:pt x="152039" y="4682"/>
                    <a:pt x="134259" y="0"/>
                    <a:pt x="112441" y="0"/>
                  </a:cubicBezTo>
                  <a:cubicBezTo>
                    <a:pt x="34765" y="0"/>
                    <a:pt x="0" y="55377"/>
                    <a:pt x="0" y="110275"/>
                  </a:cubicBezTo>
                  <a:cubicBezTo>
                    <a:pt x="0" y="172652"/>
                    <a:pt x="43192" y="212965"/>
                    <a:pt x="110029" y="212965"/>
                  </a:cubicBezTo>
                  <a:cubicBezTo>
                    <a:pt x="124965" y="212965"/>
                    <a:pt x="138461" y="210448"/>
                    <a:pt x="149382" y="208411"/>
                  </a:cubicBezTo>
                  <a:cubicBezTo>
                    <a:pt x="156745" y="207030"/>
                    <a:pt x="163838" y="205789"/>
                    <a:pt x="169808" y="205661"/>
                  </a:cubicBezTo>
                  <a:cubicBezTo>
                    <a:pt x="171119" y="205661"/>
                    <a:pt x="172032" y="205661"/>
                    <a:pt x="172804" y="205567"/>
                  </a:cubicBezTo>
                  <a:cubicBezTo>
                    <a:pt x="175006" y="205507"/>
                    <a:pt x="177209" y="205558"/>
                    <a:pt x="179406" y="205719"/>
                  </a:cubicBezTo>
                  <a:lnTo>
                    <a:pt x="182414" y="206012"/>
                  </a:lnTo>
                  <a:close/>
                </a:path>
              </a:pathLst>
            </a:custGeom>
            <a:solidFill>
              <a:srgbClr val="000000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</p:grpSp>
      <p:sp>
        <p:nvSpPr>
          <p:cNvPr id="2" name="Slide Number Placeholder 3">
            <a:extLst>
              <a:ext uri="{FF2B5EF4-FFF2-40B4-BE49-F238E27FC236}">
                <a16:creationId xmlns:a16="http://schemas.microsoft.com/office/drawing/2014/main" id="{F2681F68-C40A-FC0F-23B4-4A269696142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87541" y="6633547"/>
            <a:ext cx="125034" cy="123111"/>
          </a:xfrm>
          <a:prstGeom prst="rect">
            <a:avLst/>
          </a:prstGeom>
        </p:spPr>
        <p:txBody>
          <a:bodyPr/>
          <a:lstStyle>
            <a:lvl1pPr algn="r" rtl="0">
              <a:defRPr sz="800"/>
            </a:lvl1pPr>
          </a:lstStyle>
          <a:p>
            <a:fld id="{C50CBA42-791E-4851-9FB4-39A223136DC3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4089E18D-3591-F35D-9DA0-D27290519A5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 flipH="1">
            <a:off x="479423" y="6633547"/>
            <a:ext cx="7246798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rtl="0">
              <a:defRPr lang="de-DE" sz="800">
                <a:solidFill>
                  <a:schemeClr val="tx2"/>
                </a:solidFill>
              </a:defRPr>
            </a:lvl1pPr>
          </a:lstStyle>
          <a:p>
            <a:r>
              <a:rPr lang="en-GB"/>
              <a:t>Senacor  |  Deutsche Bank  |  Request for Proposal – Miles &amp; More // Mobile app solution development </a:t>
            </a:r>
          </a:p>
        </p:txBody>
      </p:sp>
    </p:spTree>
    <p:extLst>
      <p:ext uri="{BB962C8B-B14F-4D97-AF65-F5344CB8AC3E}">
        <p14:creationId xmlns:p14="http://schemas.microsoft.com/office/powerpoint/2010/main" val="1568352792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Zwei Inhalt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1FD5C9B0-1B07-4EBC-906A-D849907DEDC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1FD5C9B0-1B07-4EBC-906A-D849907DED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61F9098E-7D0E-4766-9BC5-644ACA3F13E5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635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rtl="0"/>
            <a:endParaRPr lang="en-GB" sz="2200" b="1" i="0" baseline="0">
              <a:solidFill>
                <a:schemeClr val="tx1"/>
              </a:solidFill>
              <a:latin typeface="Arial" panose="020B0604020202020204" pitchFamily="34" charset="0"/>
              <a:ea typeface="Malgun Gothic Semilight" panose="020B0502040204020203" pitchFamily="34" charset="-128"/>
              <a:cs typeface="Malgun Gothic Semilight" panose="020B0502040204020203" pitchFamily="34" charset="-128"/>
              <a:sym typeface="Arial" panose="020B0604020202020204" pitchFamily="34" charset="0"/>
            </a:endParaRPr>
          </a:p>
        </p:txBody>
      </p:sp>
      <p:sp>
        <p:nvSpPr>
          <p:cNvPr id="5" name="Textplatzhalter 14">
            <a:extLst>
              <a:ext uri="{FF2B5EF4-FFF2-40B4-BE49-F238E27FC236}">
                <a16:creationId xmlns:a16="http://schemas.microsoft.com/office/drawing/2014/main" id="{BB8EC43E-B232-4253-AFDF-4EF8A3B5B7F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79424" y="371143"/>
            <a:ext cx="9509760" cy="215444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/>
              <a:t>Kapitelüberschrift einFügen</a:t>
            </a:r>
          </a:p>
        </p:txBody>
      </p:sp>
      <p:sp>
        <p:nvSpPr>
          <p:cNvPr id="25" name="Content Placeholder 24">
            <a:extLst>
              <a:ext uri="{FF2B5EF4-FFF2-40B4-BE49-F238E27FC236}">
                <a16:creationId xmlns:a16="http://schemas.microsoft.com/office/drawing/2014/main" id="{37A2152B-E3B7-40B3-890F-10D4484D682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479424" y="1775816"/>
            <a:ext cx="5376672" cy="4507992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GB"/>
              <a:t>Mastertextformat bearbeiten</a:t>
            </a:r>
          </a:p>
          <a:p>
            <a:pPr lvl="1"/>
            <a:r>
              <a:rPr lang="en-GB"/>
              <a:t>Zweite Ebene</a:t>
            </a:r>
          </a:p>
          <a:p>
            <a:pPr lvl="2"/>
            <a:r>
              <a:rPr lang="en-GB"/>
              <a:t>Dritte Ebene</a:t>
            </a:r>
          </a:p>
          <a:p>
            <a:pPr lvl="3"/>
            <a:r>
              <a:rPr lang="en-GB"/>
              <a:t>Vierte Ebene</a:t>
            </a:r>
          </a:p>
          <a:p>
            <a:pPr lvl="4"/>
            <a:r>
              <a:rPr lang="en-GB"/>
              <a:t>Fünfte Ebene</a:t>
            </a:r>
          </a:p>
        </p:txBody>
      </p:sp>
      <p:sp>
        <p:nvSpPr>
          <p:cNvPr id="11" name="Content Placeholder 24">
            <a:extLst>
              <a:ext uri="{FF2B5EF4-FFF2-40B4-BE49-F238E27FC236}">
                <a16:creationId xmlns:a16="http://schemas.microsoft.com/office/drawing/2014/main" id="{CDE420A3-EB03-49EA-92D1-AFB5D0685BA9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6335902" y="1775816"/>
            <a:ext cx="5376672" cy="4507992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GB"/>
              <a:t>Mastertextformat bearbeiten</a:t>
            </a:r>
          </a:p>
          <a:p>
            <a:pPr lvl="1"/>
            <a:r>
              <a:rPr lang="en-GB"/>
              <a:t>Zweite Ebene</a:t>
            </a:r>
          </a:p>
          <a:p>
            <a:pPr lvl="2"/>
            <a:r>
              <a:rPr lang="en-GB"/>
              <a:t>Dritte Ebene</a:t>
            </a:r>
          </a:p>
          <a:p>
            <a:pPr lvl="3"/>
            <a:r>
              <a:rPr lang="en-GB"/>
              <a:t>Vierte Ebene</a:t>
            </a:r>
          </a:p>
          <a:p>
            <a:pPr lvl="4"/>
            <a:r>
              <a:rPr lang="en-GB"/>
              <a:t>Fünfte Ebene</a:t>
            </a:r>
          </a:p>
        </p:txBody>
      </p:sp>
      <p:sp>
        <p:nvSpPr>
          <p:cNvPr id="12" name="Titelplatzhalter 1">
            <a:extLst>
              <a:ext uri="{FF2B5EF4-FFF2-40B4-BE49-F238E27FC236}">
                <a16:creationId xmlns:a16="http://schemas.microsoft.com/office/drawing/2014/main" id="{E82849BF-9627-4B9D-B45F-DF9EA00C65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720000"/>
            <a:ext cx="11233150" cy="276999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/>
            </a:lvl1pPr>
          </a:lstStyle>
          <a:p>
            <a:r>
              <a:rPr lang="en-GB" noProof="0"/>
              <a:t>Mastertitelformat bearbeiten</a:t>
            </a:r>
          </a:p>
        </p:txBody>
      </p:sp>
      <p:sp>
        <p:nvSpPr>
          <p:cNvPr id="3" name="Fußzeilenplatzhalter 6">
            <a:extLst>
              <a:ext uri="{FF2B5EF4-FFF2-40B4-BE49-F238E27FC236}">
                <a16:creationId xmlns:a16="http://schemas.microsoft.com/office/drawing/2014/main" id="{3163CA9B-6EF3-D9FE-9354-1F2863F50E8E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>
          <a:xfrm>
            <a:off x="479424" y="6555600"/>
            <a:ext cx="8964000" cy="122400"/>
          </a:xfrm>
        </p:spPr>
        <p:txBody>
          <a:bodyPr/>
          <a:lstStyle>
            <a:lvl1pPr rtl="0">
              <a:defRPr>
                <a:solidFill>
                  <a:schemeClr val="bg2"/>
                </a:solidFill>
              </a:defRPr>
            </a:lvl1pPr>
          </a:lstStyle>
          <a:p>
            <a:r>
              <a:rPr lang="en-GB"/>
              <a:t>Senacor  |  Deutsche Bank  |  Request for Proposal – Miles &amp; More // Mobile app solution development </a:t>
            </a:r>
          </a:p>
        </p:txBody>
      </p:sp>
      <p:sp>
        <p:nvSpPr>
          <p:cNvPr id="6" name="Foliennummernplatzhalter 7">
            <a:extLst>
              <a:ext uri="{FF2B5EF4-FFF2-40B4-BE49-F238E27FC236}">
                <a16:creationId xmlns:a16="http://schemas.microsoft.com/office/drawing/2014/main" id="{314879E7-6596-205C-1853-EA1FB62C1DA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11574966" y="6554889"/>
            <a:ext cx="125034" cy="123111"/>
          </a:xfrm>
        </p:spPr>
        <p:txBody>
          <a:bodyPr/>
          <a:lstStyle>
            <a:lvl1pPr rtl="0">
              <a:defRPr>
                <a:solidFill>
                  <a:schemeClr val="bg2"/>
                </a:solidFill>
              </a:defRPr>
            </a:lvl1pPr>
          </a:lstStyle>
          <a:p>
            <a:fld id="{E63DBB63-5C76-DA40-949C-F00FB53C9B50}" type="slidenum">
              <a:rPr lang="en-GB" smtClean="0"/>
              <a:pPr/>
              <a:t>‹#›</a:t>
            </a:fld>
            <a:endParaRPr lang="en-GB"/>
          </a:p>
        </p:txBody>
      </p:sp>
      <p:grpSp>
        <p:nvGrpSpPr>
          <p:cNvPr id="30" name="Gruppieren 29">
            <a:extLst>
              <a:ext uri="{FF2B5EF4-FFF2-40B4-BE49-F238E27FC236}">
                <a16:creationId xmlns:a16="http://schemas.microsoft.com/office/drawing/2014/main" id="{FC056C88-3AEE-A9D4-309C-0618BB053CFA}"/>
              </a:ext>
            </a:extLst>
          </p:cNvPr>
          <p:cNvGrpSpPr/>
          <p:nvPr userDrawn="1"/>
        </p:nvGrpSpPr>
        <p:grpSpPr>
          <a:xfrm>
            <a:off x="10240057" y="331347"/>
            <a:ext cx="1470744" cy="209663"/>
            <a:chOff x="10240056" y="330434"/>
            <a:chExt cx="1472671" cy="212964"/>
          </a:xfrm>
          <a:solidFill>
            <a:srgbClr val="FFFFFF"/>
          </a:solidFill>
        </p:grpSpPr>
        <p:sp>
          <p:nvSpPr>
            <p:cNvPr id="31" name="Freihandform: Form 7">
              <a:extLst>
                <a:ext uri="{FF2B5EF4-FFF2-40B4-BE49-F238E27FC236}">
                  <a16:creationId xmlns:a16="http://schemas.microsoft.com/office/drawing/2014/main" id="{72816F24-D543-53A2-9E5C-71BEAEEB7185}"/>
                </a:ext>
              </a:extLst>
            </p:cNvPr>
            <p:cNvSpPr/>
            <p:nvPr/>
          </p:nvSpPr>
          <p:spPr>
            <a:xfrm>
              <a:off x="10602134" y="335724"/>
              <a:ext cx="213948" cy="204724"/>
            </a:xfrm>
            <a:custGeom>
              <a:avLst/>
              <a:gdLst>
                <a:gd name="connsiteX0" fmla="*/ 160491 w 213948"/>
                <a:gd name="connsiteY0" fmla="*/ 14175 h 204724"/>
                <a:gd name="connsiteX1" fmla="*/ 163136 w 213948"/>
                <a:gd name="connsiteY1" fmla="*/ 14327 h 204724"/>
                <a:gd name="connsiteX2" fmla="*/ 176854 w 213948"/>
                <a:gd name="connsiteY2" fmla="*/ 36064 h 204724"/>
                <a:gd name="connsiteX3" fmla="*/ 176854 w 213948"/>
                <a:gd name="connsiteY3" fmla="*/ 144712 h 204724"/>
                <a:gd name="connsiteX4" fmla="*/ 49408 w 213948"/>
                <a:gd name="connsiteY4" fmla="*/ 0 h 204724"/>
                <a:gd name="connsiteX5" fmla="*/ 4834 w 213948"/>
                <a:gd name="connsiteY5" fmla="*/ 0 h 204724"/>
                <a:gd name="connsiteX6" fmla="*/ 4834 w 213948"/>
                <a:gd name="connsiteY6" fmla="*/ 13894 h 204724"/>
                <a:gd name="connsiteX7" fmla="*/ 7292 w 213948"/>
                <a:gd name="connsiteY7" fmla="*/ 14140 h 204724"/>
                <a:gd name="connsiteX8" fmla="*/ 16727 w 213948"/>
                <a:gd name="connsiteY8" fmla="*/ 21163 h 204724"/>
                <a:gd name="connsiteX9" fmla="*/ 16727 w 213948"/>
                <a:gd name="connsiteY9" fmla="*/ 164821 h 204724"/>
                <a:gd name="connsiteX10" fmla="*/ 2681 w 213948"/>
                <a:gd name="connsiteY10" fmla="*/ 188372 h 204724"/>
                <a:gd name="connsiteX11" fmla="*/ 0 w 213948"/>
                <a:gd name="connsiteY11" fmla="*/ 188513 h 204724"/>
                <a:gd name="connsiteX12" fmla="*/ 0 w 213948"/>
                <a:gd name="connsiteY12" fmla="*/ 202559 h 204724"/>
                <a:gd name="connsiteX13" fmla="*/ 54523 w 213948"/>
                <a:gd name="connsiteY13" fmla="*/ 202559 h 204724"/>
                <a:gd name="connsiteX14" fmla="*/ 54523 w 213948"/>
                <a:gd name="connsiteY14" fmla="*/ 188665 h 204724"/>
                <a:gd name="connsiteX15" fmla="*/ 51936 w 213948"/>
                <a:gd name="connsiteY15" fmla="*/ 188466 h 204724"/>
                <a:gd name="connsiteX16" fmla="*/ 38580 w 213948"/>
                <a:gd name="connsiteY16" fmla="*/ 162457 h 204724"/>
                <a:gd name="connsiteX17" fmla="*/ 38580 w 213948"/>
                <a:gd name="connsiteY17" fmla="*/ 46048 h 204724"/>
                <a:gd name="connsiteX18" fmla="*/ 177873 w 213948"/>
                <a:gd name="connsiteY18" fmla="*/ 203776 h 204724"/>
                <a:gd name="connsiteX19" fmla="*/ 178716 w 213948"/>
                <a:gd name="connsiteY19" fmla="*/ 204724 h 204724"/>
                <a:gd name="connsiteX20" fmla="*/ 198708 w 213948"/>
                <a:gd name="connsiteY20" fmla="*/ 204724 h 204724"/>
                <a:gd name="connsiteX21" fmla="*/ 198708 w 213948"/>
                <a:gd name="connsiteY21" fmla="*/ 39271 h 204724"/>
                <a:gd name="connsiteX22" fmla="*/ 211373 w 213948"/>
                <a:gd name="connsiteY22" fmla="*/ 14421 h 204724"/>
                <a:gd name="connsiteX23" fmla="*/ 213948 w 213948"/>
                <a:gd name="connsiteY23" fmla="*/ 14198 h 204724"/>
                <a:gd name="connsiteX24" fmla="*/ 213948 w 213948"/>
                <a:gd name="connsiteY24" fmla="*/ 0 h 204724"/>
                <a:gd name="connsiteX25" fmla="*/ 160491 w 213948"/>
                <a:gd name="connsiteY25" fmla="*/ 0 h 2047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213948" h="204724">
                  <a:moveTo>
                    <a:pt x="160491" y="14175"/>
                  </a:moveTo>
                  <a:lnTo>
                    <a:pt x="163136" y="14327"/>
                  </a:lnTo>
                  <a:cubicBezTo>
                    <a:pt x="176878" y="15111"/>
                    <a:pt x="176878" y="17909"/>
                    <a:pt x="176854" y="36064"/>
                  </a:cubicBezTo>
                  <a:lnTo>
                    <a:pt x="176854" y="144712"/>
                  </a:lnTo>
                  <a:lnTo>
                    <a:pt x="49408" y="0"/>
                  </a:lnTo>
                  <a:lnTo>
                    <a:pt x="4834" y="0"/>
                  </a:lnTo>
                  <a:lnTo>
                    <a:pt x="4834" y="13894"/>
                  </a:lnTo>
                  <a:lnTo>
                    <a:pt x="7292" y="14140"/>
                  </a:lnTo>
                  <a:cubicBezTo>
                    <a:pt x="14655" y="14643"/>
                    <a:pt x="16586" y="17101"/>
                    <a:pt x="16727" y="21163"/>
                  </a:cubicBezTo>
                  <a:lnTo>
                    <a:pt x="16727" y="164821"/>
                  </a:lnTo>
                  <a:cubicBezTo>
                    <a:pt x="16727" y="182882"/>
                    <a:pt x="16727" y="187728"/>
                    <a:pt x="2681" y="188372"/>
                  </a:cubicBezTo>
                  <a:lnTo>
                    <a:pt x="0" y="188513"/>
                  </a:lnTo>
                  <a:lnTo>
                    <a:pt x="0" y="202559"/>
                  </a:lnTo>
                  <a:lnTo>
                    <a:pt x="54523" y="202559"/>
                  </a:lnTo>
                  <a:lnTo>
                    <a:pt x="54523" y="188665"/>
                  </a:lnTo>
                  <a:lnTo>
                    <a:pt x="51936" y="188466"/>
                  </a:lnTo>
                  <a:cubicBezTo>
                    <a:pt x="38557" y="187424"/>
                    <a:pt x="38569" y="182145"/>
                    <a:pt x="38580" y="162457"/>
                  </a:cubicBezTo>
                  <a:lnTo>
                    <a:pt x="38580" y="46048"/>
                  </a:lnTo>
                  <a:lnTo>
                    <a:pt x="177873" y="203776"/>
                  </a:lnTo>
                  <a:lnTo>
                    <a:pt x="178716" y="204724"/>
                  </a:lnTo>
                  <a:lnTo>
                    <a:pt x="198708" y="204724"/>
                  </a:lnTo>
                  <a:lnTo>
                    <a:pt x="198708" y="39271"/>
                  </a:lnTo>
                  <a:cubicBezTo>
                    <a:pt x="198708" y="19080"/>
                    <a:pt x="199797" y="15521"/>
                    <a:pt x="211373" y="14421"/>
                  </a:cubicBezTo>
                  <a:lnTo>
                    <a:pt x="213948" y="14198"/>
                  </a:lnTo>
                  <a:lnTo>
                    <a:pt x="213948" y="0"/>
                  </a:lnTo>
                  <a:lnTo>
                    <a:pt x="160491" y="0"/>
                  </a:ln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2" name="Freihandform: Form 8">
              <a:extLst>
                <a:ext uri="{FF2B5EF4-FFF2-40B4-BE49-F238E27FC236}">
                  <a16:creationId xmlns:a16="http://schemas.microsoft.com/office/drawing/2014/main" id="{ADCBC0DB-BE10-A546-F7B9-D52CB3DF01CE}"/>
                </a:ext>
              </a:extLst>
            </p:cNvPr>
            <p:cNvSpPr/>
            <p:nvPr/>
          </p:nvSpPr>
          <p:spPr>
            <a:xfrm>
              <a:off x="10240056" y="330434"/>
              <a:ext cx="150166" cy="212964"/>
            </a:xfrm>
            <a:custGeom>
              <a:avLst/>
              <a:gdLst>
                <a:gd name="connsiteX0" fmla="*/ 87918 w 150166"/>
                <a:gd name="connsiteY0" fmla="*/ 86267 h 212964"/>
                <a:gd name="connsiteX1" fmla="*/ 87918 w 150166"/>
                <a:gd name="connsiteY1" fmla="*/ 86267 h 212964"/>
                <a:gd name="connsiteX2" fmla="*/ 43309 w 150166"/>
                <a:gd name="connsiteY2" fmla="*/ 46282 h 212964"/>
                <a:gd name="connsiteX3" fmla="*/ 73427 w 150166"/>
                <a:gd name="connsiteY3" fmla="*/ 17078 h 212964"/>
                <a:gd name="connsiteX4" fmla="*/ 120248 w 150166"/>
                <a:gd name="connsiteY4" fmla="*/ 39739 h 212964"/>
                <a:gd name="connsiteX5" fmla="*/ 121032 w 150166"/>
                <a:gd name="connsiteY5" fmla="*/ 41331 h 212964"/>
                <a:gd name="connsiteX6" fmla="*/ 136109 w 150166"/>
                <a:gd name="connsiteY6" fmla="*/ 41167 h 212964"/>
                <a:gd name="connsiteX7" fmla="*/ 129589 w 150166"/>
                <a:gd name="connsiteY7" fmla="*/ 3078 h 212964"/>
                <a:gd name="connsiteX8" fmla="*/ 120026 w 150166"/>
                <a:gd name="connsiteY8" fmla="*/ 3078 h 212964"/>
                <a:gd name="connsiteX9" fmla="*/ 118551 w 150166"/>
                <a:gd name="connsiteY9" fmla="*/ 3746 h 212964"/>
                <a:gd name="connsiteX10" fmla="*/ 110977 w 150166"/>
                <a:gd name="connsiteY10" fmla="*/ 5384 h 212964"/>
                <a:gd name="connsiteX11" fmla="*/ 101438 w 150166"/>
                <a:gd name="connsiteY11" fmla="*/ 3804 h 212964"/>
                <a:gd name="connsiteX12" fmla="*/ 95807 w 150166"/>
                <a:gd name="connsiteY12" fmla="*/ 2634 h 212964"/>
                <a:gd name="connsiteX13" fmla="*/ 69412 w 150166"/>
                <a:gd name="connsiteY13" fmla="*/ 0 h 212964"/>
                <a:gd name="connsiteX14" fmla="*/ 5103 w 150166"/>
                <a:gd name="connsiteY14" fmla="*/ 55096 h 212964"/>
                <a:gd name="connsiteX15" fmla="*/ 63817 w 150166"/>
                <a:gd name="connsiteY15" fmla="*/ 117415 h 212964"/>
                <a:gd name="connsiteX16" fmla="*/ 110966 w 150166"/>
                <a:gd name="connsiteY16" fmla="*/ 162094 h 212964"/>
                <a:gd name="connsiteX17" fmla="*/ 72093 w 150166"/>
                <a:gd name="connsiteY17" fmla="*/ 193944 h 212964"/>
                <a:gd name="connsiteX18" fmla="*/ 15030 w 150166"/>
                <a:gd name="connsiteY18" fmla="*/ 167174 h 212964"/>
                <a:gd name="connsiteX19" fmla="*/ 14327 w 150166"/>
                <a:gd name="connsiteY19" fmla="*/ 165418 h 212964"/>
                <a:gd name="connsiteX20" fmla="*/ 0 w 150166"/>
                <a:gd name="connsiteY20" fmla="*/ 165418 h 212964"/>
                <a:gd name="connsiteX21" fmla="*/ 6368 w 150166"/>
                <a:gd name="connsiteY21" fmla="*/ 208283 h 212964"/>
                <a:gd name="connsiteX22" fmla="*/ 17932 w 150166"/>
                <a:gd name="connsiteY22" fmla="*/ 208283 h 212964"/>
                <a:gd name="connsiteX23" fmla="*/ 18740 w 150166"/>
                <a:gd name="connsiteY23" fmla="*/ 207510 h 212964"/>
                <a:gd name="connsiteX24" fmla="*/ 25997 w 150166"/>
                <a:gd name="connsiteY24" fmla="*/ 205895 h 212964"/>
                <a:gd name="connsiteX25" fmla="*/ 38393 w 150166"/>
                <a:gd name="connsiteY25" fmla="*/ 208107 h 212964"/>
                <a:gd name="connsiteX26" fmla="*/ 74445 w 150166"/>
                <a:gd name="connsiteY26" fmla="*/ 212965 h 212964"/>
                <a:gd name="connsiteX27" fmla="*/ 150167 w 150166"/>
                <a:gd name="connsiteY27" fmla="*/ 152648 h 212964"/>
                <a:gd name="connsiteX28" fmla="*/ 87930 w 150166"/>
                <a:gd name="connsiteY28" fmla="*/ 86267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150166" h="212964">
                  <a:moveTo>
                    <a:pt x="87918" y="86267"/>
                  </a:moveTo>
                  <a:lnTo>
                    <a:pt x="87918" y="86267"/>
                  </a:lnTo>
                  <a:cubicBezTo>
                    <a:pt x="64976" y="74750"/>
                    <a:pt x="43309" y="63864"/>
                    <a:pt x="43309" y="46282"/>
                  </a:cubicBezTo>
                  <a:cubicBezTo>
                    <a:pt x="43309" y="34507"/>
                    <a:pt x="52884" y="17078"/>
                    <a:pt x="73427" y="17078"/>
                  </a:cubicBezTo>
                  <a:cubicBezTo>
                    <a:pt x="97142" y="17078"/>
                    <a:pt x="111305" y="23574"/>
                    <a:pt x="120248" y="39739"/>
                  </a:cubicBezTo>
                  <a:lnTo>
                    <a:pt x="121032" y="41331"/>
                  </a:lnTo>
                  <a:lnTo>
                    <a:pt x="136109" y="41167"/>
                  </a:lnTo>
                  <a:lnTo>
                    <a:pt x="129589" y="3078"/>
                  </a:lnTo>
                  <a:lnTo>
                    <a:pt x="120026" y="3078"/>
                  </a:lnTo>
                  <a:lnTo>
                    <a:pt x="118551" y="3746"/>
                  </a:lnTo>
                  <a:cubicBezTo>
                    <a:pt x="116205" y="4922"/>
                    <a:pt x="113600" y="5486"/>
                    <a:pt x="110977" y="5384"/>
                  </a:cubicBezTo>
                  <a:cubicBezTo>
                    <a:pt x="106998" y="5232"/>
                    <a:pt x="105242" y="4577"/>
                    <a:pt x="101438" y="3804"/>
                  </a:cubicBezTo>
                  <a:cubicBezTo>
                    <a:pt x="99822" y="3465"/>
                    <a:pt x="98031" y="3008"/>
                    <a:pt x="95807" y="2634"/>
                  </a:cubicBezTo>
                  <a:cubicBezTo>
                    <a:pt x="87117" y="890"/>
                    <a:pt x="78276" y="8"/>
                    <a:pt x="69412" y="0"/>
                  </a:cubicBezTo>
                  <a:cubicBezTo>
                    <a:pt x="33945" y="0"/>
                    <a:pt x="5103" y="24710"/>
                    <a:pt x="5103" y="55096"/>
                  </a:cubicBezTo>
                  <a:cubicBezTo>
                    <a:pt x="5103" y="85846"/>
                    <a:pt x="34952" y="101917"/>
                    <a:pt x="63817" y="117415"/>
                  </a:cubicBezTo>
                  <a:cubicBezTo>
                    <a:pt x="88059" y="130455"/>
                    <a:pt x="110966" y="142804"/>
                    <a:pt x="110966" y="162094"/>
                  </a:cubicBezTo>
                  <a:cubicBezTo>
                    <a:pt x="110966" y="180249"/>
                    <a:pt x="94251" y="193944"/>
                    <a:pt x="72093" y="193944"/>
                  </a:cubicBezTo>
                  <a:cubicBezTo>
                    <a:pt x="41799" y="193944"/>
                    <a:pt x="23130" y="185177"/>
                    <a:pt x="15030" y="167174"/>
                  </a:cubicBezTo>
                  <a:lnTo>
                    <a:pt x="14327" y="165418"/>
                  </a:lnTo>
                  <a:lnTo>
                    <a:pt x="0" y="165418"/>
                  </a:lnTo>
                  <a:lnTo>
                    <a:pt x="6368" y="208283"/>
                  </a:lnTo>
                  <a:lnTo>
                    <a:pt x="17932" y="208283"/>
                  </a:lnTo>
                  <a:lnTo>
                    <a:pt x="18740" y="207510"/>
                  </a:lnTo>
                  <a:cubicBezTo>
                    <a:pt x="20461" y="205965"/>
                    <a:pt x="22603" y="205860"/>
                    <a:pt x="25997" y="205895"/>
                  </a:cubicBezTo>
                  <a:cubicBezTo>
                    <a:pt x="29392" y="205930"/>
                    <a:pt x="33313" y="206878"/>
                    <a:pt x="38393" y="208107"/>
                  </a:cubicBezTo>
                  <a:cubicBezTo>
                    <a:pt x="50154" y="211257"/>
                    <a:pt x="62270" y="212889"/>
                    <a:pt x="74445" y="212965"/>
                  </a:cubicBezTo>
                  <a:cubicBezTo>
                    <a:pt x="118328" y="212965"/>
                    <a:pt x="150167" y="187600"/>
                    <a:pt x="150167" y="152648"/>
                  </a:cubicBezTo>
                  <a:cubicBezTo>
                    <a:pt x="150167" y="117696"/>
                    <a:pt x="117052" y="100922"/>
                    <a:pt x="87930" y="86267"/>
                  </a:cubicBezTo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3" name="Freihandform: Form 9">
              <a:extLst>
                <a:ext uri="{FF2B5EF4-FFF2-40B4-BE49-F238E27FC236}">
                  <a16:creationId xmlns:a16="http://schemas.microsoft.com/office/drawing/2014/main" id="{68B8D5F3-8E63-8040-DBF1-14019BC702B6}"/>
                </a:ext>
              </a:extLst>
            </p:cNvPr>
            <p:cNvSpPr/>
            <p:nvPr/>
          </p:nvSpPr>
          <p:spPr>
            <a:xfrm>
              <a:off x="10421346" y="335748"/>
              <a:ext cx="149780" cy="202570"/>
            </a:xfrm>
            <a:custGeom>
              <a:avLst/>
              <a:gdLst>
                <a:gd name="connsiteX0" fmla="*/ 10184 w 149780"/>
                <a:gd name="connsiteY0" fmla="*/ 176725 h 202570"/>
                <a:gd name="connsiteX1" fmla="*/ 2540 w 149780"/>
                <a:gd name="connsiteY1" fmla="*/ 187986 h 202570"/>
                <a:gd name="connsiteX2" fmla="*/ 0 w 149780"/>
                <a:gd name="connsiteY2" fmla="*/ 188232 h 202570"/>
                <a:gd name="connsiteX3" fmla="*/ 0 w 149780"/>
                <a:gd name="connsiteY3" fmla="*/ 202571 h 202570"/>
                <a:gd name="connsiteX4" fmla="*/ 144864 w 149780"/>
                <a:gd name="connsiteY4" fmla="*/ 202571 h 202570"/>
                <a:gd name="connsiteX5" fmla="*/ 149780 w 149780"/>
                <a:gd name="connsiteY5" fmla="*/ 162059 h 202570"/>
                <a:gd name="connsiteX6" fmla="*/ 134563 w 149780"/>
                <a:gd name="connsiteY6" fmla="*/ 162176 h 202570"/>
                <a:gd name="connsiteX7" fmla="*/ 133943 w 149780"/>
                <a:gd name="connsiteY7" fmla="*/ 164107 h 202570"/>
                <a:gd name="connsiteX8" fmla="*/ 101379 w 149780"/>
                <a:gd name="connsiteY8" fmla="*/ 182754 h 202570"/>
                <a:gd name="connsiteX9" fmla="*/ 64192 w 149780"/>
                <a:gd name="connsiteY9" fmla="*/ 182754 h 202570"/>
                <a:gd name="connsiteX10" fmla="*/ 49244 w 149780"/>
                <a:gd name="connsiteY10" fmla="*/ 162749 h 202570"/>
                <a:gd name="connsiteX11" fmla="*/ 49244 w 149780"/>
                <a:gd name="connsiteY11" fmla="*/ 107875 h 202570"/>
                <a:gd name="connsiteX12" fmla="*/ 89042 w 149780"/>
                <a:gd name="connsiteY12" fmla="*/ 107875 h 202570"/>
                <a:gd name="connsiteX13" fmla="*/ 107630 w 149780"/>
                <a:gd name="connsiteY13" fmla="*/ 118878 h 202570"/>
                <a:gd name="connsiteX14" fmla="*/ 108051 w 149780"/>
                <a:gd name="connsiteY14" fmla="*/ 121219 h 202570"/>
                <a:gd name="connsiteX15" fmla="*/ 122542 w 149780"/>
                <a:gd name="connsiteY15" fmla="*/ 121219 h 202570"/>
                <a:gd name="connsiteX16" fmla="*/ 122542 w 149780"/>
                <a:gd name="connsiteY16" fmla="*/ 75569 h 202570"/>
                <a:gd name="connsiteX17" fmla="*/ 108285 w 149780"/>
                <a:gd name="connsiteY17" fmla="*/ 75569 h 202570"/>
                <a:gd name="connsiteX18" fmla="*/ 107934 w 149780"/>
                <a:gd name="connsiteY18" fmla="*/ 77910 h 202570"/>
                <a:gd name="connsiteX19" fmla="*/ 89042 w 149780"/>
                <a:gd name="connsiteY19" fmla="*/ 88105 h 202570"/>
                <a:gd name="connsiteX20" fmla="*/ 49244 w 149780"/>
                <a:gd name="connsiteY20" fmla="*/ 88105 h 202570"/>
                <a:gd name="connsiteX21" fmla="*/ 49244 w 149780"/>
                <a:gd name="connsiteY21" fmla="*/ 19829 h 202570"/>
                <a:gd name="connsiteX22" fmla="*/ 102550 w 149780"/>
                <a:gd name="connsiteY22" fmla="*/ 19829 h 202570"/>
                <a:gd name="connsiteX23" fmla="*/ 124310 w 149780"/>
                <a:gd name="connsiteY23" fmla="*/ 34226 h 202570"/>
                <a:gd name="connsiteX24" fmla="*/ 124883 w 149780"/>
                <a:gd name="connsiteY24" fmla="*/ 36286 h 202570"/>
                <a:gd name="connsiteX25" fmla="*/ 140100 w 149780"/>
                <a:gd name="connsiteY25" fmla="*/ 36286 h 202570"/>
                <a:gd name="connsiteX26" fmla="*/ 137595 w 149780"/>
                <a:gd name="connsiteY26" fmla="*/ 0 h 202570"/>
                <a:gd name="connsiteX27" fmla="*/ 222 w 149780"/>
                <a:gd name="connsiteY27" fmla="*/ 0 h 202570"/>
                <a:gd name="connsiteX28" fmla="*/ 222 w 149780"/>
                <a:gd name="connsiteY28" fmla="*/ 14198 h 202570"/>
                <a:gd name="connsiteX29" fmla="*/ 2798 w 149780"/>
                <a:gd name="connsiteY29" fmla="*/ 14374 h 202570"/>
                <a:gd name="connsiteX30" fmla="*/ 10207 w 149780"/>
                <a:gd name="connsiteY30" fmla="*/ 32412 h 2025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149780" h="202570">
                  <a:moveTo>
                    <a:pt x="10184" y="176725"/>
                  </a:moveTo>
                  <a:cubicBezTo>
                    <a:pt x="9973" y="184626"/>
                    <a:pt x="9774" y="187260"/>
                    <a:pt x="2540" y="187986"/>
                  </a:cubicBezTo>
                  <a:lnTo>
                    <a:pt x="0" y="188232"/>
                  </a:lnTo>
                  <a:lnTo>
                    <a:pt x="0" y="202571"/>
                  </a:lnTo>
                  <a:lnTo>
                    <a:pt x="144864" y="202571"/>
                  </a:lnTo>
                  <a:lnTo>
                    <a:pt x="149780" y="162059"/>
                  </a:lnTo>
                  <a:lnTo>
                    <a:pt x="134563" y="162176"/>
                  </a:lnTo>
                  <a:lnTo>
                    <a:pt x="133943" y="164107"/>
                  </a:lnTo>
                  <a:cubicBezTo>
                    <a:pt x="127927" y="182964"/>
                    <a:pt x="121734" y="182906"/>
                    <a:pt x="101379" y="182754"/>
                  </a:cubicBezTo>
                  <a:lnTo>
                    <a:pt x="64192" y="182754"/>
                  </a:lnTo>
                  <a:cubicBezTo>
                    <a:pt x="49654" y="182754"/>
                    <a:pt x="49244" y="179909"/>
                    <a:pt x="49244" y="162749"/>
                  </a:cubicBezTo>
                  <a:lnTo>
                    <a:pt x="49244" y="107875"/>
                  </a:lnTo>
                  <a:lnTo>
                    <a:pt x="89042" y="107875"/>
                  </a:lnTo>
                  <a:cubicBezTo>
                    <a:pt x="102292" y="107875"/>
                    <a:pt x="105066" y="108168"/>
                    <a:pt x="107630" y="118878"/>
                  </a:cubicBezTo>
                  <a:lnTo>
                    <a:pt x="108051" y="121219"/>
                  </a:lnTo>
                  <a:lnTo>
                    <a:pt x="122542" y="121219"/>
                  </a:lnTo>
                  <a:lnTo>
                    <a:pt x="122542" y="75569"/>
                  </a:lnTo>
                  <a:lnTo>
                    <a:pt x="108285" y="75569"/>
                  </a:lnTo>
                  <a:lnTo>
                    <a:pt x="107934" y="77910"/>
                  </a:lnTo>
                  <a:cubicBezTo>
                    <a:pt x="106248" y="87368"/>
                    <a:pt x="103158" y="88105"/>
                    <a:pt x="89042" y="88105"/>
                  </a:cubicBezTo>
                  <a:lnTo>
                    <a:pt x="49244" y="88105"/>
                  </a:lnTo>
                  <a:lnTo>
                    <a:pt x="49244" y="19829"/>
                  </a:lnTo>
                  <a:lnTo>
                    <a:pt x="102550" y="19829"/>
                  </a:lnTo>
                  <a:cubicBezTo>
                    <a:pt x="116233" y="19829"/>
                    <a:pt x="120716" y="19829"/>
                    <a:pt x="124310" y="34226"/>
                  </a:cubicBezTo>
                  <a:lnTo>
                    <a:pt x="124883" y="36286"/>
                  </a:lnTo>
                  <a:lnTo>
                    <a:pt x="140100" y="36286"/>
                  </a:lnTo>
                  <a:lnTo>
                    <a:pt x="137595" y="0"/>
                  </a:lnTo>
                  <a:lnTo>
                    <a:pt x="222" y="0"/>
                  </a:lnTo>
                  <a:lnTo>
                    <a:pt x="222" y="14198"/>
                  </a:lnTo>
                  <a:lnTo>
                    <a:pt x="2798" y="14374"/>
                  </a:lnTo>
                  <a:cubicBezTo>
                    <a:pt x="10102" y="15252"/>
                    <a:pt x="10113" y="17886"/>
                    <a:pt x="10207" y="32412"/>
                  </a:cubicBez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4" name="Freihandform: Form 10">
              <a:extLst>
                <a:ext uri="{FF2B5EF4-FFF2-40B4-BE49-F238E27FC236}">
                  <a16:creationId xmlns:a16="http://schemas.microsoft.com/office/drawing/2014/main" id="{8D9F06A2-826C-C4BF-0B6E-808B2C8B9707}"/>
                </a:ext>
              </a:extLst>
            </p:cNvPr>
            <p:cNvSpPr/>
            <p:nvPr/>
          </p:nvSpPr>
          <p:spPr>
            <a:xfrm>
              <a:off x="11496262" y="332657"/>
              <a:ext cx="216465" cy="208540"/>
            </a:xfrm>
            <a:custGeom>
              <a:avLst/>
              <a:gdLst>
                <a:gd name="connsiteX0" fmla="*/ 145742 w 216465"/>
                <a:gd name="connsiteY0" fmla="*/ 131087 h 208540"/>
                <a:gd name="connsiteX1" fmla="*/ 125609 w 216465"/>
                <a:gd name="connsiteY1" fmla="*/ 111902 h 208540"/>
                <a:gd name="connsiteX2" fmla="*/ 162609 w 216465"/>
                <a:gd name="connsiteY2" fmla="*/ 59556 h 208540"/>
                <a:gd name="connsiteX3" fmla="*/ 74738 w 216465"/>
                <a:gd name="connsiteY3" fmla="*/ 0 h 208540"/>
                <a:gd name="connsiteX4" fmla="*/ 36321 w 216465"/>
                <a:gd name="connsiteY4" fmla="*/ 632 h 208540"/>
                <a:gd name="connsiteX5" fmla="*/ 15147 w 216465"/>
                <a:gd name="connsiteY5" fmla="*/ 1662 h 208540"/>
                <a:gd name="connsiteX6" fmla="*/ 6450 w 216465"/>
                <a:gd name="connsiteY6" fmla="*/ 2247 h 208540"/>
                <a:gd name="connsiteX7" fmla="*/ 6450 w 216465"/>
                <a:gd name="connsiteY7" fmla="*/ 16586 h 208540"/>
                <a:gd name="connsiteX8" fmla="*/ 8978 w 216465"/>
                <a:gd name="connsiteY8" fmla="*/ 16703 h 208540"/>
                <a:gd name="connsiteX9" fmla="*/ 17698 w 216465"/>
                <a:gd name="connsiteY9" fmla="*/ 25061 h 208540"/>
                <a:gd name="connsiteX10" fmla="*/ 17581 w 216465"/>
                <a:gd name="connsiteY10" fmla="*/ 173413 h 208540"/>
                <a:gd name="connsiteX11" fmla="*/ 2669 w 216465"/>
                <a:gd name="connsiteY11" fmla="*/ 191486 h 208540"/>
                <a:gd name="connsiteX12" fmla="*/ 0 w 216465"/>
                <a:gd name="connsiteY12" fmla="*/ 191626 h 208540"/>
                <a:gd name="connsiteX13" fmla="*/ 0 w 216465"/>
                <a:gd name="connsiteY13" fmla="*/ 205672 h 208540"/>
                <a:gd name="connsiteX14" fmla="*/ 76435 w 216465"/>
                <a:gd name="connsiteY14" fmla="*/ 205672 h 208540"/>
                <a:gd name="connsiteX15" fmla="*/ 76435 w 216465"/>
                <a:gd name="connsiteY15" fmla="*/ 191544 h 208540"/>
                <a:gd name="connsiteX16" fmla="*/ 73790 w 216465"/>
                <a:gd name="connsiteY16" fmla="*/ 191544 h 208540"/>
                <a:gd name="connsiteX17" fmla="*/ 58374 w 216465"/>
                <a:gd name="connsiteY17" fmla="*/ 164353 h 208540"/>
                <a:gd name="connsiteX18" fmla="*/ 58374 w 216465"/>
                <a:gd name="connsiteY18" fmla="*/ 124192 h 208540"/>
                <a:gd name="connsiteX19" fmla="*/ 82651 w 216465"/>
                <a:gd name="connsiteY19" fmla="*/ 123982 h 208540"/>
                <a:gd name="connsiteX20" fmla="*/ 115425 w 216465"/>
                <a:gd name="connsiteY20" fmla="*/ 153526 h 208540"/>
                <a:gd name="connsiteX21" fmla="*/ 132035 w 216465"/>
                <a:gd name="connsiteY21" fmla="*/ 170276 h 208540"/>
                <a:gd name="connsiteX22" fmla="*/ 141926 w 216465"/>
                <a:gd name="connsiteY22" fmla="*/ 180612 h 208540"/>
                <a:gd name="connsiteX23" fmla="*/ 148797 w 216465"/>
                <a:gd name="connsiteY23" fmla="*/ 188232 h 208540"/>
                <a:gd name="connsiteX24" fmla="*/ 201798 w 216465"/>
                <a:gd name="connsiteY24" fmla="*/ 208540 h 208540"/>
                <a:gd name="connsiteX25" fmla="*/ 213281 w 216465"/>
                <a:gd name="connsiteY25" fmla="*/ 208376 h 208540"/>
                <a:gd name="connsiteX26" fmla="*/ 216465 w 216465"/>
                <a:gd name="connsiteY26" fmla="*/ 208306 h 208540"/>
                <a:gd name="connsiteX27" fmla="*/ 216465 w 216465"/>
                <a:gd name="connsiteY27" fmla="*/ 194201 h 208540"/>
                <a:gd name="connsiteX28" fmla="*/ 213504 w 216465"/>
                <a:gd name="connsiteY28" fmla="*/ 193932 h 208540"/>
                <a:gd name="connsiteX29" fmla="*/ 213504 w 216465"/>
                <a:gd name="connsiteY29" fmla="*/ 193932 h 208540"/>
                <a:gd name="connsiteX30" fmla="*/ 190316 w 216465"/>
                <a:gd name="connsiteY30" fmla="*/ 177159 h 208540"/>
                <a:gd name="connsiteX31" fmla="*/ 171131 w 216465"/>
                <a:gd name="connsiteY31" fmla="*/ 156967 h 208540"/>
                <a:gd name="connsiteX32" fmla="*/ 119031 w 216465"/>
                <a:gd name="connsiteY32" fmla="*/ 62728 h 208540"/>
                <a:gd name="connsiteX33" fmla="*/ 65713 w 216465"/>
                <a:gd name="connsiteY33" fmla="*/ 110041 h 208540"/>
                <a:gd name="connsiteX34" fmla="*/ 58397 w 216465"/>
                <a:gd name="connsiteY34" fmla="*/ 109725 h 208540"/>
                <a:gd name="connsiteX35" fmla="*/ 58397 w 216465"/>
                <a:gd name="connsiteY35" fmla="*/ 15334 h 208540"/>
                <a:gd name="connsiteX36" fmla="*/ 71542 w 216465"/>
                <a:gd name="connsiteY36" fmla="*/ 15182 h 208540"/>
                <a:gd name="connsiteX37" fmla="*/ 119031 w 216465"/>
                <a:gd name="connsiteY37" fmla="*/ 62728 h 2085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16465" h="208540">
                  <a:moveTo>
                    <a:pt x="145742" y="131087"/>
                  </a:moveTo>
                  <a:cubicBezTo>
                    <a:pt x="143541" y="128874"/>
                    <a:pt x="132632" y="117930"/>
                    <a:pt x="125609" y="111902"/>
                  </a:cubicBezTo>
                  <a:cubicBezTo>
                    <a:pt x="150190" y="100325"/>
                    <a:pt x="162609" y="82721"/>
                    <a:pt x="162609" y="59556"/>
                  </a:cubicBezTo>
                  <a:cubicBezTo>
                    <a:pt x="162609" y="41647"/>
                    <a:pt x="154053" y="0"/>
                    <a:pt x="74738" y="0"/>
                  </a:cubicBezTo>
                  <a:cubicBezTo>
                    <a:pt x="68242" y="0"/>
                    <a:pt x="53037" y="0"/>
                    <a:pt x="36321" y="632"/>
                  </a:cubicBezTo>
                  <a:cubicBezTo>
                    <a:pt x="26243" y="1077"/>
                    <a:pt x="20332" y="1393"/>
                    <a:pt x="15147" y="1662"/>
                  </a:cubicBezTo>
                  <a:lnTo>
                    <a:pt x="6450" y="2247"/>
                  </a:lnTo>
                  <a:lnTo>
                    <a:pt x="6450" y="16586"/>
                  </a:lnTo>
                  <a:lnTo>
                    <a:pt x="8978" y="16703"/>
                  </a:lnTo>
                  <a:cubicBezTo>
                    <a:pt x="15240" y="17160"/>
                    <a:pt x="17616" y="18787"/>
                    <a:pt x="17698" y="25061"/>
                  </a:cubicBezTo>
                  <a:lnTo>
                    <a:pt x="17581" y="173413"/>
                  </a:lnTo>
                  <a:cubicBezTo>
                    <a:pt x="17195" y="185715"/>
                    <a:pt x="16411" y="190842"/>
                    <a:pt x="2669" y="191486"/>
                  </a:cubicBezTo>
                  <a:lnTo>
                    <a:pt x="0" y="191626"/>
                  </a:lnTo>
                  <a:lnTo>
                    <a:pt x="0" y="205672"/>
                  </a:lnTo>
                  <a:lnTo>
                    <a:pt x="76435" y="205672"/>
                  </a:lnTo>
                  <a:lnTo>
                    <a:pt x="76435" y="191544"/>
                  </a:lnTo>
                  <a:lnTo>
                    <a:pt x="73790" y="191544"/>
                  </a:lnTo>
                  <a:cubicBezTo>
                    <a:pt x="58362" y="190783"/>
                    <a:pt x="58374" y="187260"/>
                    <a:pt x="58374" y="164353"/>
                  </a:cubicBezTo>
                  <a:lnTo>
                    <a:pt x="58374" y="124192"/>
                  </a:lnTo>
                  <a:cubicBezTo>
                    <a:pt x="66462" y="124664"/>
                    <a:pt x="74574" y="124593"/>
                    <a:pt x="82651" y="123982"/>
                  </a:cubicBezTo>
                  <a:cubicBezTo>
                    <a:pt x="95000" y="133205"/>
                    <a:pt x="99635" y="137583"/>
                    <a:pt x="115425" y="153526"/>
                  </a:cubicBezTo>
                  <a:lnTo>
                    <a:pt x="132035" y="170276"/>
                  </a:lnTo>
                  <a:cubicBezTo>
                    <a:pt x="135804" y="174092"/>
                    <a:pt x="139058" y="177556"/>
                    <a:pt x="141926" y="180612"/>
                  </a:cubicBezTo>
                  <a:cubicBezTo>
                    <a:pt x="144525" y="183374"/>
                    <a:pt x="146784" y="185949"/>
                    <a:pt x="148797" y="188232"/>
                  </a:cubicBezTo>
                  <a:cubicBezTo>
                    <a:pt x="161087" y="202173"/>
                    <a:pt x="166706" y="208540"/>
                    <a:pt x="201798" y="208540"/>
                  </a:cubicBezTo>
                  <a:cubicBezTo>
                    <a:pt x="205310" y="208540"/>
                    <a:pt x="209044" y="208540"/>
                    <a:pt x="213281" y="208376"/>
                  </a:cubicBezTo>
                  <a:lnTo>
                    <a:pt x="216465" y="208306"/>
                  </a:lnTo>
                  <a:lnTo>
                    <a:pt x="216465" y="194201"/>
                  </a:lnTo>
                  <a:lnTo>
                    <a:pt x="213504" y="193932"/>
                  </a:lnTo>
                  <a:lnTo>
                    <a:pt x="213504" y="193932"/>
                  </a:lnTo>
                  <a:cubicBezTo>
                    <a:pt x="205228" y="193160"/>
                    <a:pt x="200253" y="187810"/>
                    <a:pt x="190316" y="177159"/>
                  </a:cubicBezTo>
                  <a:lnTo>
                    <a:pt x="171131" y="156967"/>
                  </a:lnTo>
                  <a:close/>
                  <a:moveTo>
                    <a:pt x="119031" y="62728"/>
                  </a:moveTo>
                  <a:cubicBezTo>
                    <a:pt x="119031" y="95210"/>
                    <a:pt x="104247" y="108554"/>
                    <a:pt x="65713" y="110041"/>
                  </a:cubicBezTo>
                  <a:cubicBezTo>
                    <a:pt x="64543" y="110041"/>
                    <a:pt x="61195" y="110041"/>
                    <a:pt x="58397" y="109725"/>
                  </a:cubicBezTo>
                  <a:lnTo>
                    <a:pt x="58397" y="15334"/>
                  </a:lnTo>
                  <a:cubicBezTo>
                    <a:pt x="62225" y="15182"/>
                    <a:pt x="68101" y="15182"/>
                    <a:pt x="71542" y="15182"/>
                  </a:cubicBezTo>
                  <a:cubicBezTo>
                    <a:pt x="103193" y="15170"/>
                    <a:pt x="119031" y="31159"/>
                    <a:pt x="119031" y="62728"/>
                  </a:cubicBez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5" name="Freihandform: Form 11">
              <a:extLst>
                <a:ext uri="{FF2B5EF4-FFF2-40B4-BE49-F238E27FC236}">
                  <a16:creationId xmlns:a16="http://schemas.microsoft.com/office/drawing/2014/main" id="{F23B1222-86EF-E914-8923-E74401F73AC2}"/>
                </a:ext>
              </a:extLst>
            </p:cNvPr>
            <p:cNvSpPr/>
            <p:nvPr/>
          </p:nvSpPr>
          <p:spPr>
            <a:xfrm>
              <a:off x="10830304" y="335724"/>
              <a:ext cx="207171" cy="202652"/>
            </a:xfrm>
            <a:custGeom>
              <a:avLst/>
              <a:gdLst>
                <a:gd name="connsiteX0" fmla="*/ 121430 w 207171"/>
                <a:gd name="connsiteY0" fmla="*/ 0 h 202652"/>
                <a:gd name="connsiteX1" fmla="*/ 90762 w 207171"/>
                <a:gd name="connsiteY1" fmla="*/ 0 h 202652"/>
                <a:gd name="connsiteX2" fmla="*/ 24979 w 207171"/>
                <a:gd name="connsiteY2" fmla="*/ 164529 h 202652"/>
                <a:gd name="connsiteX3" fmla="*/ 2610 w 207171"/>
                <a:gd name="connsiteY3" fmla="*/ 188431 h 202652"/>
                <a:gd name="connsiteX4" fmla="*/ 0 w 207171"/>
                <a:gd name="connsiteY4" fmla="*/ 188606 h 202652"/>
                <a:gd name="connsiteX5" fmla="*/ 0 w 207171"/>
                <a:gd name="connsiteY5" fmla="*/ 202652 h 202652"/>
                <a:gd name="connsiteX6" fmla="*/ 56735 w 207171"/>
                <a:gd name="connsiteY6" fmla="*/ 202652 h 202652"/>
                <a:gd name="connsiteX7" fmla="*/ 56735 w 207171"/>
                <a:gd name="connsiteY7" fmla="*/ 188712 h 202652"/>
                <a:gd name="connsiteX8" fmla="*/ 54184 w 207171"/>
                <a:gd name="connsiteY8" fmla="*/ 188489 h 202652"/>
                <a:gd name="connsiteX9" fmla="*/ 41530 w 207171"/>
                <a:gd name="connsiteY9" fmla="*/ 178879 h 202652"/>
                <a:gd name="connsiteX10" fmla="*/ 44562 w 207171"/>
                <a:gd name="connsiteY10" fmla="*/ 167478 h 202652"/>
                <a:gd name="connsiteX11" fmla="*/ 59779 w 207171"/>
                <a:gd name="connsiteY11" fmla="*/ 128196 h 202652"/>
                <a:gd name="connsiteX12" fmla="*/ 129706 w 207171"/>
                <a:gd name="connsiteY12" fmla="*/ 128196 h 202652"/>
                <a:gd name="connsiteX13" fmla="*/ 144923 w 207171"/>
                <a:gd name="connsiteY13" fmla="*/ 167385 h 202652"/>
                <a:gd name="connsiteX14" fmla="*/ 148844 w 207171"/>
                <a:gd name="connsiteY14" fmla="*/ 179734 h 202652"/>
                <a:gd name="connsiteX15" fmla="*/ 148937 w 207171"/>
                <a:gd name="connsiteY15" fmla="*/ 180202 h 202652"/>
                <a:gd name="connsiteX16" fmla="*/ 147896 w 207171"/>
                <a:gd name="connsiteY16" fmla="*/ 184802 h 202652"/>
                <a:gd name="connsiteX17" fmla="*/ 136577 w 207171"/>
                <a:gd name="connsiteY17" fmla="*/ 188243 h 202652"/>
                <a:gd name="connsiteX18" fmla="*/ 134002 w 207171"/>
                <a:gd name="connsiteY18" fmla="*/ 188442 h 202652"/>
                <a:gd name="connsiteX19" fmla="*/ 134002 w 207171"/>
                <a:gd name="connsiteY19" fmla="*/ 202606 h 202652"/>
                <a:gd name="connsiteX20" fmla="*/ 207171 w 207171"/>
                <a:gd name="connsiteY20" fmla="*/ 202606 h 202652"/>
                <a:gd name="connsiteX21" fmla="*/ 207171 w 207171"/>
                <a:gd name="connsiteY21" fmla="*/ 188700 h 202652"/>
                <a:gd name="connsiteX22" fmla="*/ 204502 w 207171"/>
                <a:gd name="connsiteY22" fmla="*/ 188559 h 202652"/>
                <a:gd name="connsiteX23" fmla="*/ 184603 w 207171"/>
                <a:gd name="connsiteY23" fmla="*/ 167759 h 202652"/>
                <a:gd name="connsiteX24" fmla="*/ 121641 w 207171"/>
                <a:gd name="connsiteY24" fmla="*/ 107161 h 202652"/>
                <a:gd name="connsiteX25" fmla="*/ 67797 w 207171"/>
                <a:gd name="connsiteY25" fmla="*/ 107161 h 202652"/>
                <a:gd name="connsiteX26" fmla="*/ 95140 w 207171"/>
                <a:gd name="connsiteY26" fmla="*/ 37012 h 2026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207171" h="202652">
                  <a:moveTo>
                    <a:pt x="121430" y="0"/>
                  </a:moveTo>
                  <a:lnTo>
                    <a:pt x="90762" y="0"/>
                  </a:lnTo>
                  <a:lnTo>
                    <a:pt x="24979" y="164529"/>
                  </a:lnTo>
                  <a:cubicBezTo>
                    <a:pt x="17172" y="183994"/>
                    <a:pt x="15755" y="187506"/>
                    <a:pt x="2610" y="188431"/>
                  </a:cubicBezTo>
                  <a:lnTo>
                    <a:pt x="0" y="188606"/>
                  </a:lnTo>
                  <a:lnTo>
                    <a:pt x="0" y="202652"/>
                  </a:lnTo>
                  <a:lnTo>
                    <a:pt x="56735" y="202652"/>
                  </a:lnTo>
                  <a:lnTo>
                    <a:pt x="56735" y="188712"/>
                  </a:lnTo>
                  <a:lnTo>
                    <a:pt x="54184" y="188489"/>
                  </a:lnTo>
                  <a:cubicBezTo>
                    <a:pt x="43649" y="187319"/>
                    <a:pt x="41202" y="183315"/>
                    <a:pt x="41530" y="178879"/>
                  </a:cubicBezTo>
                  <a:cubicBezTo>
                    <a:pt x="41741" y="176105"/>
                    <a:pt x="42572" y="172839"/>
                    <a:pt x="44562" y="167478"/>
                  </a:cubicBezTo>
                  <a:lnTo>
                    <a:pt x="59779" y="128196"/>
                  </a:lnTo>
                  <a:lnTo>
                    <a:pt x="129706" y="128196"/>
                  </a:lnTo>
                  <a:lnTo>
                    <a:pt x="144923" y="167385"/>
                  </a:lnTo>
                  <a:cubicBezTo>
                    <a:pt x="147369" y="174326"/>
                    <a:pt x="147907" y="175672"/>
                    <a:pt x="148844" y="179734"/>
                  </a:cubicBezTo>
                  <a:lnTo>
                    <a:pt x="148937" y="180202"/>
                  </a:lnTo>
                  <a:cubicBezTo>
                    <a:pt x="149324" y="181814"/>
                    <a:pt x="148939" y="183513"/>
                    <a:pt x="147896" y="184802"/>
                  </a:cubicBezTo>
                  <a:cubicBezTo>
                    <a:pt x="146421" y="186651"/>
                    <a:pt x="142780" y="187763"/>
                    <a:pt x="136577" y="188243"/>
                  </a:cubicBezTo>
                  <a:lnTo>
                    <a:pt x="134002" y="188442"/>
                  </a:lnTo>
                  <a:lnTo>
                    <a:pt x="134002" y="202606"/>
                  </a:lnTo>
                  <a:lnTo>
                    <a:pt x="207171" y="202606"/>
                  </a:lnTo>
                  <a:lnTo>
                    <a:pt x="207171" y="188700"/>
                  </a:lnTo>
                  <a:lnTo>
                    <a:pt x="204502" y="188559"/>
                  </a:lnTo>
                  <a:cubicBezTo>
                    <a:pt x="191989" y="187986"/>
                    <a:pt x="190854" y="184896"/>
                    <a:pt x="184603" y="167759"/>
                  </a:cubicBezTo>
                  <a:close/>
                  <a:moveTo>
                    <a:pt x="121641" y="107161"/>
                  </a:moveTo>
                  <a:lnTo>
                    <a:pt x="67797" y="107161"/>
                  </a:lnTo>
                  <a:lnTo>
                    <a:pt x="95140" y="37012"/>
                  </a:ln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6" name="Freihandform: Form 12">
              <a:extLst>
                <a:ext uri="{FF2B5EF4-FFF2-40B4-BE49-F238E27FC236}">
                  <a16:creationId xmlns:a16="http://schemas.microsoft.com/office/drawing/2014/main" id="{593ECCFB-9A19-BAD5-F89F-B9148F2371E9}"/>
                </a:ext>
              </a:extLst>
            </p:cNvPr>
            <p:cNvSpPr/>
            <p:nvPr/>
          </p:nvSpPr>
          <p:spPr>
            <a:xfrm>
              <a:off x="11256925" y="330434"/>
              <a:ext cx="218794" cy="212964"/>
            </a:xfrm>
            <a:custGeom>
              <a:avLst/>
              <a:gdLst>
                <a:gd name="connsiteX0" fmla="*/ 109397 w 218794"/>
                <a:gd name="connsiteY0" fmla="*/ 0 h 212964"/>
                <a:gd name="connsiteX1" fmla="*/ 0 w 218794"/>
                <a:gd name="connsiteY1" fmla="*/ 111878 h 212964"/>
                <a:gd name="connsiteX2" fmla="*/ 108227 w 218794"/>
                <a:gd name="connsiteY2" fmla="*/ 212965 h 212964"/>
                <a:gd name="connsiteX3" fmla="*/ 218794 w 218794"/>
                <a:gd name="connsiteY3" fmla="*/ 102994 h 212964"/>
                <a:gd name="connsiteX4" fmla="*/ 109397 w 218794"/>
                <a:gd name="connsiteY4" fmla="*/ 0 h 212964"/>
                <a:gd name="connsiteX5" fmla="*/ 177861 w 218794"/>
                <a:gd name="connsiteY5" fmla="*/ 110919 h 212964"/>
                <a:gd name="connsiteX6" fmla="*/ 112897 w 218794"/>
                <a:gd name="connsiteY6" fmla="*/ 197210 h 212964"/>
                <a:gd name="connsiteX7" fmla="*/ 40945 w 218794"/>
                <a:gd name="connsiteY7" fmla="*/ 103310 h 212964"/>
                <a:gd name="connsiteX8" fmla="*/ 107056 w 218794"/>
                <a:gd name="connsiteY8" fmla="*/ 15744 h 212964"/>
                <a:gd name="connsiteX9" fmla="*/ 177861 w 218794"/>
                <a:gd name="connsiteY9" fmla="*/ 110919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18794" h="212964">
                  <a:moveTo>
                    <a:pt x="109397" y="0"/>
                  </a:moveTo>
                  <a:cubicBezTo>
                    <a:pt x="45966" y="0"/>
                    <a:pt x="0" y="47043"/>
                    <a:pt x="0" y="111878"/>
                  </a:cubicBezTo>
                  <a:cubicBezTo>
                    <a:pt x="0" y="170405"/>
                    <a:pt x="45522" y="212965"/>
                    <a:pt x="108227" y="212965"/>
                  </a:cubicBezTo>
                  <a:cubicBezTo>
                    <a:pt x="171259" y="212965"/>
                    <a:pt x="218794" y="165687"/>
                    <a:pt x="218794" y="102994"/>
                  </a:cubicBezTo>
                  <a:cubicBezTo>
                    <a:pt x="218794" y="42349"/>
                    <a:pt x="173811" y="0"/>
                    <a:pt x="109397" y="0"/>
                  </a:cubicBezTo>
                  <a:close/>
                  <a:moveTo>
                    <a:pt x="177861" y="110919"/>
                  </a:moveTo>
                  <a:cubicBezTo>
                    <a:pt x="177861" y="162539"/>
                    <a:pt x="151758" y="197210"/>
                    <a:pt x="112897" y="197210"/>
                  </a:cubicBezTo>
                  <a:cubicBezTo>
                    <a:pt x="77138" y="197210"/>
                    <a:pt x="40945" y="164950"/>
                    <a:pt x="40945" y="103310"/>
                  </a:cubicBezTo>
                  <a:cubicBezTo>
                    <a:pt x="40945" y="49302"/>
                    <a:pt x="66275" y="15744"/>
                    <a:pt x="107056" y="15744"/>
                  </a:cubicBezTo>
                  <a:cubicBezTo>
                    <a:pt x="148738" y="15744"/>
                    <a:pt x="177861" y="54886"/>
                    <a:pt x="177861" y="110919"/>
                  </a:cubicBez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7" name="Freihandform: Form 13">
              <a:extLst>
                <a:ext uri="{FF2B5EF4-FFF2-40B4-BE49-F238E27FC236}">
                  <a16:creationId xmlns:a16="http://schemas.microsoft.com/office/drawing/2014/main" id="{DADDAFEB-AA7C-AC34-16B0-FB8AC7C12ADC}"/>
                </a:ext>
              </a:extLst>
            </p:cNvPr>
            <p:cNvSpPr/>
            <p:nvPr/>
          </p:nvSpPr>
          <p:spPr>
            <a:xfrm>
              <a:off x="11045727" y="330434"/>
              <a:ext cx="196811" cy="212964"/>
            </a:xfrm>
            <a:custGeom>
              <a:avLst/>
              <a:gdLst>
                <a:gd name="connsiteX0" fmla="*/ 196812 w 196811"/>
                <a:gd name="connsiteY0" fmla="*/ 165348 h 212964"/>
                <a:gd name="connsiteX1" fmla="*/ 180635 w 196811"/>
                <a:gd name="connsiteY1" fmla="*/ 165547 h 212964"/>
                <a:gd name="connsiteX2" fmla="*/ 179828 w 196811"/>
                <a:gd name="connsiteY2" fmla="*/ 166659 h 212964"/>
                <a:gd name="connsiteX3" fmla="*/ 118960 w 196811"/>
                <a:gd name="connsiteY3" fmla="*/ 195922 h 212964"/>
                <a:gd name="connsiteX4" fmla="*/ 70255 w 196811"/>
                <a:gd name="connsiteY4" fmla="*/ 176585 h 212964"/>
                <a:gd name="connsiteX5" fmla="*/ 41729 w 196811"/>
                <a:gd name="connsiteY5" fmla="*/ 102023 h 212964"/>
                <a:gd name="connsiteX6" fmla="*/ 113623 w 196811"/>
                <a:gd name="connsiteY6" fmla="*/ 15720 h 212964"/>
                <a:gd name="connsiteX7" fmla="*/ 179359 w 196811"/>
                <a:gd name="connsiteY7" fmla="*/ 50391 h 212964"/>
                <a:gd name="connsiteX8" fmla="*/ 180155 w 196811"/>
                <a:gd name="connsiteY8" fmla="*/ 51959 h 212964"/>
                <a:gd name="connsiteX9" fmla="*/ 193558 w 196811"/>
                <a:gd name="connsiteY9" fmla="*/ 51749 h 212964"/>
                <a:gd name="connsiteX10" fmla="*/ 192259 w 196811"/>
                <a:gd name="connsiteY10" fmla="*/ 9142 h 212964"/>
                <a:gd name="connsiteX11" fmla="*/ 181267 w 196811"/>
                <a:gd name="connsiteY11" fmla="*/ 9142 h 212964"/>
                <a:gd name="connsiteX12" fmla="*/ 180694 w 196811"/>
                <a:gd name="connsiteY12" fmla="*/ 9528 h 212964"/>
                <a:gd name="connsiteX13" fmla="*/ 176515 w 196811"/>
                <a:gd name="connsiteY13" fmla="*/ 10453 h 212964"/>
                <a:gd name="connsiteX14" fmla="*/ 163768 w 196811"/>
                <a:gd name="connsiteY14" fmla="*/ 7761 h 212964"/>
                <a:gd name="connsiteX15" fmla="*/ 112441 w 196811"/>
                <a:gd name="connsiteY15" fmla="*/ 0 h 212964"/>
                <a:gd name="connsiteX16" fmla="*/ 0 w 196811"/>
                <a:gd name="connsiteY16" fmla="*/ 110275 h 212964"/>
                <a:gd name="connsiteX17" fmla="*/ 110029 w 196811"/>
                <a:gd name="connsiteY17" fmla="*/ 212965 h 212964"/>
                <a:gd name="connsiteX18" fmla="*/ 149382 w 196811"/>
                <a:gd name="connsiteY18" fmla="*/ 208411 h 212964"/>
                <a:gd name="connsiteX19" fmla="*/ 169808 w 196811"/>
                <a:gd name="connsiteY19" fmla="*/ 205661 h 212964"/>
                <a:gd name="connsiteX20" fmla="*/ 172804 w 196811"/>
                <a:gd name="connsiteY20" fmla="*/ 205567 h 212964"/>
                <a:gd name="connsiteX21" fmla="*/ 179406 w 196811"/>
                <a:gd name="connsiteY21" fmla="*/ 205719 h 212964"/>
                <a:gd name="connsiteX22" fmla="*/ 182414 w 196811"/>
                <a:gd name="connsiteY22" fmla="*/ 206012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96811" h="212964">
                  <a:moveTo>
                    <a:pt x="196812" y="165348"/>
                  </a:moveTo>
                  <a:lnTo>
                    <a:pt x="180635" y="165547"/>
                  </a:lnTo>
                  <a:lnTo>
                    <a:pt x="179828" y="166659"/>
                  </a:lnTo>
                  <a:cubicBezTo>
                    <a:pt x="163440" y="186839"/>
                    <a:pt x="146315" y="195044"/>
                    <a:pt x="118960" y="195922"/>
                  </a:cubicBezTo>
                  <a:cubicBezTo>
                    <a:pt x="100712" y="196577"/>
                    <a:pt x="83927" y="189824"/>
                    <a:pt x="70255" y="176585"/>
                  </a:cubicBezTo>
                  <a:cubicBezTo>
                    <a:pt x="52123" y="159027"/>
                    <a:pt x="41729" y="131859"/>
                    <a:pt x="41729" y="102023"/>
                  </a:cubicBezTo>
                  <a:cubicBezTo>
                    <a:pt x="41729" y="50403"/>
                    <a:pt x="70618" y="15720"/>
                    <a:pt x="113623" y="15720"/>
                  </a:cubicBezTo>
                  <a:cubicBezTo>
                    <a:pt x="143799" y="15720"/>
                    <a:pt x="168989" y="28994"/>
                    <a:pt x="179359" y="50391"/>
                  </a:cubicBezTo>
                  <a:lnTo>
                    <a:pt x="180155" y="51959"/>
                  </a:lnTo>
                  <a:lnTo>
                    <a:pt x="193558" y="51749"/>
                  </a:lnTo>
                  <a:lnTo>
                    <a:pt x="192259" y="9142"/>
                  </a:lnTo>
                  <a:lnTo>
                    <a:pt x="181267" y="9142"/>
                  </a:lnTo>
                  <a:lnTo>
                    <a:pt x="180694" y="9528"/>
                  </a:lnTo>
                  <a:cubicBezTo>
                    <a:pt x="179431" y="10264"/>
                    <a:pt x="177970" y="10587"/>
                    <a:pt x="176515" y="10453"/>
                  </a:cubicBezTo>
                  <a:cubicBezTo>
                    <a:pt x="173928" y="10359"/>
                    <a:pt x="169492" y="9282"/>
                    <a:pt x="163768" y="7761"/>
                  </a:cubicBezTo>
                  <a:cubicBezTo>
                    <a:pt x="152039" y="4682"/>
                    <a:pt x="134259" y="0"/>
                    <a:pt x="112441" y="0"/>
                  </a:cubicBezTo>
                  <a:cubicBezTo>
                    <a:pt x="34765" y="0"/>
                    <a:pt x="0" y="55377"/>
                    <a:pt x="0" y="110275"/>
                  </a:cubicBezTo>
                  <a:cubicBezTo>
                    <a:pt x="0" y="172652"/>
                    <a:pt x="43192" y="212965"/>
                    <a:pt x="110029" y="212965"/>
                  </a:cubicBezTo>
                  <a:cubicBezTo>
                    <a:pt x="124965" y="212965"/>
                    <a:pt x="138461" y="210448"/>
                    <a:pt x="149382" y="208411"/>
                  </a:cubicBezTo>
                  <a:cubicBezTo>
                    <a:pt x="156745" y="207030"/>
                    <a:pt x="163838" y="205789"/>
                    <a:pt x="169808" y="205661"/>
                  </a:cubicBezTo>
                  <a:cubicBezTo>
                    <a:pt x="171119" y="205661"/>
                    <a:pt x="172032" y="205661"/>
                    <a:pt x="172804" y="205567"/>
                  </a:cubicBezTo>
                  <a:cubicBezTo>
                    <a:pt x="175006" y="205507"/>
                    <a:pt x="177209" y="205558"/>
                    <a:pt x="179406" y="205719"/>
                  </a:cubicBezTo>
                  <a:lnTo>
                    <a:pt x="182414" y="206012"/>
                  </a:ln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85825684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V-Profi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hteck 21">
            <a:extLst>
              <a:ext uri="{FF2B5EF4-FFF2-40B4-BE49-F238E27FC236}">
                <a16:creationId xmlns:a16="http://schemas.microsoft.com/office/drawing/2014/main" id="{8EF60B27-1D4B-C94F-3A63-44CD93A21E71}"/>
              </a:ext>
            </a:extLst>
          </p:cNvPr>
          <p:cNvSpPr/>
          <p:nvPr userDrawn="1"/>
        </p:nvSpPr>
        <p:spPr>
          <a:xfrm>
            <a:off x="0" y="3646743"/>
            <a:ext cx="12192000" cy="321125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066045CB-9910-A8BA-3ECD-4270AA1EF93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FF13BA3-4DBD-492F-AF1C-C76B12832872}" type="datetime1">
              <a:rPr lang="de-DE" smtClean="0"/>
              <a:pPr/>
              <a:t>03.06.25</a:t>
            </a:fld>
            <a:endParaRPr lang="en-DE"/>
          </a:p>
        </p:txBody>
      </p:sp>
      <p:sp>
        <p:nvSpPr>
          <p:cNvPr id="11" name="Rechteck: abgerundete Ecken 11">
            <a:extLst>
              <a:ext uri="{FF2B5EF4-FFF2-40B4-BE49-F238E27FC236}">
                <a16:creationId xmlns:a16="http://schemas.microsoft.com/office/drawing/2014/main" id="{2EBA78E4-D79A-89F2-769D-5FEF9B171A34}"/>
              </a:ext>
            </a:extLst>
          </p:cNvPr>
          <p:cNvSpPr>
            <a:spLocks/>
          </p:cNvSpPr>
          <p:nvPr userDrawn="1"/>
        </p:nvSpPr>
        <p:spPr>
          <a:xfrm>
            <a:off x="478800" y="3767357"/>
            <a:ext cx="3162469" cy="215444"/>
          </a:xfrm>
          <a:prstGeom prst="roundRect">
            <a:avLst>
              <a:gd name="adj" fmla="val 0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400" b="1" cap="all" spc="0" baseline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JEKTERFAHRUNGEN (AUSZUG)</a:t>
            </a:r>
          </a:p>
        </p:txBody>
      </p:sp>
      <p:sp>
        <p:nvSpPr>
          <p:cNvPr id="12" name="Text Placeholder 18">
            <a:extLst>
              <a:ext uri="{FF2B5EF4-FFF2-40B4-BE49-F238E27FC236}">
                <a16:creationId xmlns:a16="http://schemas.microsoft.com/office/drawing/2014/main" id="{67C9BF02-94CA-3F79-303A-00A08EC165C3}"/>
              </a:ext>
            </a:extLst>
          </p:cNvPr>
          <p:cNvSpPr txBox="1">
            <a:spLocks/>
          </p:cNvSpPr>
          <p:nvPr userDrawn="1"/>
        </p:nvSpPr>
        <p:spPr>
          <a:xfrm>
            <a:off x="7133601" y="626225"/>
            <a:ext cx="2115492" cy="50405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Clr>
                <a:srgbClr val="324B5F"/>
              </a:buClr>
              <a:buFontTx/>
              <a:buNone/>
              <a:defRPr lang="en-US" sz="1600" kern="1200" baseline="0" dirty="0" smtClean="0">
                <a:solidFill>
                  <a:schemeClr val="tx1"/>
                </a:solidFill>
                <a:latin typeface="Futura-Book" panose="020B0500000000000000" pitchFamily="34" charset="0"/>
                <a:ea typeface="Open Sans Semibold" panose="020B0706030804020204" pitchFamily="34" charset="0"/>
                <a:cs typeface="Open Sans Semibold" panose="020B0706030804020204" pitchFamily="34" charset="0"/>
              </a:defRPr>
            </a:lvl1pPr>
            <a:lvl2pPr marL="180975" indent="-180975" algn="l" defTabSz="914400" rtl="0" eaLnBrk="1" latinLnBrk="0" hangingPunct="1">
              <a:spcBef>
                <a:spcPct val="20000"/>
              </a:spcBef>
              <a:buClr>
                <a:srgbClr val="324B5F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Futura-Book" panose="020B0500000000000000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61950" indent="-180975" algn="l" defTabSz="914400" rtl="0" eaLnBrk="1" latinLnBrk="0" hangingPunct="1">
              <a:spcBef>
                <a:spcPct val="20000"/>
              </a:spcBef>
              <a:buClr>
                <a:srgbClr val="324B5F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Futura-Book" panose="020B0500000000000000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542925" indent="-180975" algn="l" defTabSz="720725" rtl="0" eaLnBrk="1" latinLnBrk="0" hangingPunct="1">
              <a:spcBef>
                <a:spcPct val="20000"/>
              </a:spcBef>
              <a:buClr>
                <a:srgbClr val="324B5F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Futura-Book" panose="020B0500000000000000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714375" indent="-180975" algn="l" defTabSz="914400" rtl="0" eaLnBrk="1" latinLnBrk="0" hangingPunct="1">
              <a:spcBef>
                <a:spcPct val="20000"/>
              </a:spcBef>
              <a:buClr>
                <a:srgbClr val="324B5F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Futura-Book" panose="020B0500000000000000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286000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rgbClr val="324650"/>
              </a:buClr>
            </a:pPr>
            <a:endParaRPr lang="en-US" sz="1000" b="1">
              <a:solidFill>
                <a:srgbClr val="7091C8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Titel 8">
            <a:extLst>
              <a:ext uri="{FF2B5EF4-FFF2-40B4-BE49-F238E27FC236}">
                <a16:creationId xmlns:a16="http://schemas.microsoft.com/office/drawing/2014/main" id="{230EBE96-F367-ADEE-698C-794B1F9DB2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8798" y="720000"/>
            <a:ext cx="11233928" cy="307777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Vorname Nachname</a:t>
            </a:r>
          </a:p>
        </p:txBody>
      </p:sp>
      <p:sp>
        <p:nvSpPr>
          <p:cNvPr id="27" name="Titel 8">
            <a:extLst>
              <a:ext uri="{FF2B5EF4-FFF2-40B4-BE49-F238E27FC236}">
                <a16:creationId xmlns:a16="http://schemas.microsoft.com/office/drawing/2014/main" id="{FE83C45F-9FC4-3E0D-2F78-DA3E226153F9}"/>
              </a:ext>
            </a:extLst>
          </p:cNvPr>
          <p:cNvSpPr txBox="1">
            <a:spLocks/>
          </p:cNvSpPr>
          <p:nvPr userDrawn="1"/>
        </p:nvSpPr>
        <p:spPr>
          <a:xfrm>
            <a:off x="7096151" y="472019"/>
            <a:ext cx="2072526" cy="169277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000" b="1" kern="12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algn="ctr"/>
            <a:endParaRPr lang="de-DE" sz="1100"/>
          </a:p>
        </p:txBody>
      </p:sp>
      <p:sp>
        <p:nvSpPr>
          <p:cNvPr id="32" name="Fußzeilenplatzhalter 6">
            <a:extLst>
              <a:ext uri="{FF2B5EF4-FFF2-40B4-BE49-F238E27FC236}">
                <a16:creationId xmlns:a16="http://schemas.microsoft.com/office/drawing/2014/main" id="{7435D1E4-2C0B-64F6-C70F-8A54C73F837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1623600" y="6555600"/>
            <a:ext cx="8964000" cy="122400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 err="1"/>
              <a:t>Senacor</a:t>
            </a:r>
            <a:r>
              <a:rPr lang="de-DE"/>
              <a:t> Technologies AG</a:t>
            </a:r>
            <a:endParaRPr lang="en-DE"/>
          </a:p>
        </p:txBody>
      </p:sp>
      <p:sp>
        <p:nvSpPr>
          <p:cNvPr id="33" name="Foliennummernplatzhalter 7">
            <a:extLst>
              <a:ext uri="{FF2B5EF4-FFF2-40B4-BE49-F238E27FC236}">
                <a16:creationId xmlns:a16="http://schemas.microsoft.com/office/drawing/2014/main" id="{F40297E4-401C-6AA7-79A5-625B43EC6E8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11242800" y="6555600"/>
            <a:ext cx="457200" cy="122400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E63DBB63-5C76-DA40-949C-F00FB53C9B50}" type="slidenum">
              <a:rPr lang="en-DE" smtClean="0"/>
              <a:pPr/>
              <a:t>‹#›</a:t>
            </a:fld>
            <a:endParaRPr lang="en-DE"/>
          </a:p>
        </p:txBody>
      </p:sp>
      <p:sp>
        <p:nvSpPr>
          <p:cNvPr id="4" name="Textplatzhalter 19">
            <a:extLst>
              <a:ext uri="{FF2B5EF4-FFF2-40B4-BE49-F238E27FC236}">
                <a16:creationId xmlns:a16="http://schemas.microsoft.com/office/drawing/2014/main" id="{B8638FD1-C19D-976E-B47E-FD06A774780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8800" y="396000"/>
            <a:ext cx="9511200" cy="216000"/>
          </a:xfrm>
        </p:spPr>
        <p:txBody>
          <a:bodyPr anchor="b"/>
          <a:lstStyle>
            <a:lvl1pPr>
              <a:defRPr cap="all" baseline="0">
                <a:solidFill>
                  <a:schemeClr val="accent1"/>
                </a:solidFill>
              </a:defRPr>
            </a:lvl1pPr>
          </a:lstStyle>
          <a:p>
            <a:r>
              <a:rPr lang="de-DE"/>
              <a:t>POSITION</a:t>
            </a:r>
          </a:p>
        </p:txBody>
      </p:sp>
      <p:grpSp>
        <p:nvGrpSpPr>
          <p:cNvPr id="5" name="Gruppieren 4">
            <a:extLst>
              <a:ext uri="{FF2B5EF4-FFF2-40B4-BE49-F238E27FC236}">
                <a16:creationId xmlns:a16="http://schemas.microsoft.com/office/drawing/2014/main" id="{E270703A-A2ED-100F-E13F-807CC571C73E}"/>
              </a:ext>
            </a:extLst>
          </p:cNvPr>
          <p:cNvGrpSpPr/>
          <p:nvPr userDrawn="1"/>
        </p:nvGrpSpPr>
        <p:grpSpPr>
          <a:xfrm>
            <a:off x="10241984" y="367378"/>
            <a:ext cx="1470743" cy="209663"/>
            <a:chOff x="10240056" y="330434"/>
            <a:chExt cx="1472671" cy="212964"/>
          </a:xfrm>
          <a:solidFill>
            <a:srgbClr val="000000"/>
          </a:solidFill>
        </p:grpSpPr>
        <p:sp>
          <p:nvSpPr>
            <p:cNvPr id="8" name="Freihandform: Form 7">
              <a:extLst>
                <a:ext uri="{FF2B5EF4-FFF2-40B4-BE49-F238E27FC236}">
                  <a16:creationId xmlns:a16="http://schemas.microsoft.com/office/drawing/2014/main" id="{7B690517-B014-AE68-20CA-6FA8A7C5A6D2}"/>
                </a:ext>
              </a:extLst>
            </p:cNvPr>
            <p:cNvSpPr/>
            <p:nvPr/>
          </p:nvSpPr>
          <p:spPr>
            <a:xfrm>
              <a:off x="10602134" y="335724"/>
              <a:ext cx="213948" cy="204724"/>
            </a:xfrm>
            <a:custGeom>
              <a:avLst/>
              <a:gdLst>
                <a:gd name="connsiteX0" fmla="*/ 160491 w 213948"/>
                <a:gd name="connsiteY0" fmla="*/ 14175 h 204724"/>
                <a:gd name="connsiteX1" fmla="*/ 163136 w 213948"/>
                <a:gd name="connsiteY1" fmla="*/ 14327 h 204724"/>
                <a:gd name="connsiteX2" fmla="*/ 176854 w 213948"/>
                <a:gd name="connsiteY2" fmla="*/ 36064 h 204724"/>
                <a:gd name="connsiteX3" fmla="*/ 176854 w 213948"/>
                <a:gd name="connsiteY3" fmla="*/ 144712 h 204724"/>
                <a:gd name="connsiteX4" fmla="*/ 49408 w 213948"/>
                <a:gd name="connsiteY4" fmla="*/ 0 h 204724"/>
                <a:gd name="connsiteX5" fmla="*/ 4834 w 213948"/>
                <a:gd name="connsiteY5" fmla="*/ 0 h 204724"/>
                <a:gd name="connsiteX6" fmla="*/ 4834 w 213948"/>
                <a:gd name="connsiteY6" fmla="*/ 13894 h 204724"/>
                <a:gd name="connsiteX7" fmla="*/ 7292 w 213948"/>
                <a:gd name="connsiteY7" fmla="*/ 14140 h 204724"/>
                <a:gd name="connsiteX8" fmla="*/ 16727 w 213948"/>
                <a:gd name="connsiteY8" fmla="*/ 21163 h 204724"/>
                <a:gd name="connsiteX9" fmla="*/ 16727 w 213948"/>
                <a:gd name="connsiteY9" fmla="*/ 164821 h 204724"/>
                <a:gd name="connsiteX10" fmla="*/ 2681 w 213948"/>
                <a:gd name="connsiteY10" fmla="*/ 188372 h 204724"/>
                <a:gd name="connsiteX11" fmla="*/ 0 w 213948"/>
                <a:gd name="connsiteY11" fmla="*/ 188513 h 204724"/>
                <a:gd name="connsiteX12" fmla="*/ 0 w 213948"/>
                <a:gd name="connsiteY12" fmla="*/ 202559 h 204724"/>
                <a:gd name="connsiteX13" fmla="*/ 54523 w 213948"/>
                <a:gd name="connsiteY13" fmla="*/ 202559 h 204724"/>
                <a:gd name="connsiteX14" fmla="*/ 54523 w 213948"/>
                <a:gd name="connsiteY14" fmla="*/ 188665 h 204724"/>
                <a:gd name="connsiteX15" fmla="*/ 51936 w 213948"/>
                <a:gd name="connsiteY15" fmla="*/ 188466 h 204724"/>
                <a:gd name="connsiteX16" fmla="*/ 38580 w 213948"/>
                <a:gd name="connsiteY16" fmla="*/ 162457 h 204724"/>
                <a:gd name="connsiteX17" fmla="*/ 38580 w 213948"/>
                <a:gd name="connsiteY17" fmla="*/ 46048 h 204724"/>
                <a:gd name="connsiteX18" fmla="*/ 177873 w 213948"/>
                <a:gd name="connsiteY18" fmla="*/ 203776 h 204724"/>
                <a:gd name="connsiteX19" fmla="*/ 178716 w 213948"/>
                <a:gd name="connsiteY19" fmla="*/ 204724 h 204724"/>
                <a:gd name="connsiteX20" fmla="*/ 198708 w 213948"/>
                <a:gd name="connsiteY20" fmla="*/ 204724 h 204724"/>
                <a:gd name="connsiteX21" fmla="*/ 198708 w 213948"/>
                <a:gd name="connsiteY21" fmla="*/ 39271 h 204724"/>
                <a:gd name="connsiteX22" fmla="*/ 211373 w 213948"/>
                <a:gd name="connsiteY22" fmla="*/ 14421 h 204724"/>
                <a:gd name="connsiteX23" fmla="*/ 213948 w 213948"/>
                <a:gd name="connsiteY23" fmla="*/ 14198 h 204724"/>
                <a:gd name="connsiteX24" fmla="*/ 213948 w 213948"/>
                <a:gd name="connsiteY24" fmla="*/ 0 h 204724"/>
                <a:gd name="connsiteX25" fmla="*/ 160491 w 213948"/>
                <a:gd name="connsiteY25" fmla="*/ 0 h 2047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213948" h="204724">
                  <a:moveTo>
                    <a:pt x="160491" y="14175"/>
                  </a:moveTo>
                  <a:lnTo>
                    <a:pt x="163136" y="14327"/>
                  </a:lnTo>
                  <a:cubicBezTo>
                    <a:pt x="176878" y="15111"/>
                    <a:pt x="176878" y="17909"/>
                    <a:pt x="176854" y="36064"/>
                  </a:cubicBezTo>
                  <a:lnTo>
                    <a:pt x="176854" y="144712"/>
                  </a:lnTo>
                  <a:lnTo>
                    <a:pt x="49408" y="0"/>
                  </a:lnTo>
                  <a:lnTo>
                    <a:pt x="4834" y="0"/>
                  </a:lnTo>
                  <a:lnTo>
                    <a:pt x="4834" y="13894"/>
                  </a:lnTo>
                  <a:lnTo>
                    <a:pt x="7292" y="14140"/>
                  </a:lnTo>
                  <a:cubicBezTo>
                    <a:pt x="14655" y="14643"/>
                    <a:pt x="16586" y="17101"/>
                    <a:pt x="16727" y="21163"/>
                  </a:cubicBezTo>
                  <a:lnTo>
                    <a:pt x="16727" y="164821"/>
                  </a:lnTo>
                  <a:cubicBezTo>
                    <a:pt x="16727" y="182882"/>
                    <a:pt x="16727" y="187728"/>
                    <a:pt x="2681" y="188372"/>
                  </a:cubicBezTo>
                  <a:lnTo>
                    <a:pt x="0" y="188513"/>
                  </a:lnTo>
                  <a:lnTo>
                    <a:pt x="0" y="202559"/>
                  </a:lnTo>
                  <a:lnTo>
                    <a:pt x="54523" y="202559"/>
                  </a:lnTo>
                  <a:lnTo>
                    <a:pt x="54523" y="188665"/>
                  </a:lnTo>
                  <a:lnTo>
                    <a:pt x="51936" y="188466"/>
                  </a:lnTo>
                  <a:cubicBezTo>
                    <a:pt x="38557" y="187424"/>
                    <a:pt x="38569" y="182145"/>
                    <a:pt x="38580" y="162457"/>
                  </a:cubicBezTo>
                  <a:lnTo>
                    <a:pt x="38580" y="46048"/>
                  </a:lnTo>
                  <a:lnTo>
                    <a:pt x="177873" y="203776"/>
                  </a:lnTo>
                  <a:lnTo>
                    <a:pt x="178716" y="204724"/>
                  </a:lnTo>
                  <a:lnTo>
                    <a:pt x="198708" y="204724"/>
                  </a:lnTo>
                  <a:lnTo>
                    <a:pt x="198708" y="39271"/>
                  </a:lnTo>
                  <a:cubicBezTo>
                    <a:pt x="198708" y="19080"/>
                    <a:pt x="199797" y="15521"/>
                    <a:pt x="211373" y="14421"/>
                  </a:cubicBezTo>
                  <a:lnTo>
                    <a:pt x="213948" y="14198"/>
                  </a:lnTo>
                  <a:lnTo>
                    <a:pt x="213948" y="0"/>
                  </a:lnTo>
                  <a:lnTo>
                    <a:pt x="160491" y="0"/>
                  </a:ln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" name="Freihandform: Form 8">
              <a:extLst>
                <a:ext uri="{FF2B5EF4-FFF2-40B4-BE49-F238E27FC236}">
                  <a16:creationId xmlns:a16="http://schemas.microsoft.com/office/drawing/2014/main" id="{AB8A0262-724C-A5AF-3FFA-D489B38269AE}"/>
                </a:ext>
              </a:extLst>
            </p:cNvPr>
            <p:cNvSpPr/>
            <p:nvPr/>
          </p:nvSpPr>
          <p:spPr>
            <a:xfrm>
              <a:off x="10240056" y="330434"/>
              <a:ext cx="150166" cy="212964"/>
            </a:xfrm>
            <a:custGeom>
              <a:avLst/>
              <a:gdLst>
                <a:gd name="connsiteX0" fmla="*/ 87918 w 150166"/>
                <a:gd name="connsiteY0" fmla="*/ 86267 h 212964"/>
                <a:gd name="connsiteX1" fmla="*/ 87918 w 150166"/>
                <a:gd name="connsiteY1" fmla="*/ 86267 h 212964"/>
                <a:gd name="connsiteX2" fmla="*/ 43309 w 150166"/>
                <a:gd name="connsiteY2" fmla="*/ 46282 h 212964"/>
                <a:gd name="connsiteX3" fmla="*/ 73427 w 150166"/>
                <a:gd name="connsiteY3" fmla="*/ 17078 h 212964"/>
                <a:gd name="connsiteX4" fmla="*/ 120248 w 150166"/>
                <a:gd name="connsiteY4" fmla="*/ 39739 h 212964"/>
                <a:gd name="connsiteX5" fmla="*/ 121032 w 150166"/>
                <a:gd name="connsiteY5" fmla="*/ 41331 h 212964"/>
                <a:gd name="connsiteX6" fmla="*/ 136109 w 150166"/>
                <a:gd name="connsiteY6" fmla="*/ 41167 h 212964"/>
                <a:gd name="connsiteX7" fmla="*/ 129589 w 150166"/>
                <a:gd name="connsiteY7" fmla="*/ 3078 h 212964"/>
                <a:gd name="connsiteX8" fmla="*/ 120026 w 150166"/>
                <a:gd name="connsiteY8" fmla="*/ 3078 h 212964"/>
                <a:gd name="connsiteX9" fmla="*/ 118551 w 150166"/>
                <a:gd name="connsiteY9" fmla="*/ 3746 h 212964"/>
                <a:gd name="connsiteX10" fmla="*/ 110977 w 150166"/>
                <a:gd name="connsiteY10" fmla="*/ 5384 h 212964"/>
                <a:gd name="connsiteX11" fmla="*/ 101438 w 150166"/>
                <a:gd name="connsiteY11" fmla="*/ 3804 h 212964"/>
                <a:gd name="connsiteX12" fmla="*/ 95807 w 150166"/>
                <a:gd name="connsiteY12" fmla="*/ 2634 h 212964"/>
                <a:gd name="connsiteX13" fmla="*/ 69412 w 150166"/>
                <a:gd name="connsiteY13" fmla="*/ 0 h 212964"/>
                <a:gd name="connsiteX14" fmla="*/ 5103 w 150166"/>
                <a:gd name="connsiteY14" fmla="*/ 55096 h 212964"/>
                <a:gd name="connsiteX15" fmla="*/ 63817 w 150166"/>
                <a:gd name="connsiteY15" fmla="*/ 117415 h 212964"/>
                <a:gd name="connsiteX16" fmla="*/ 110966 w 150166"/>
                <a:gd name="connsiteY16" fmla="*/ 162094 h 212964"/>
                <a:gd name="connsiteX17" fmla="*/ 72093 w 150166"/>
                <a:gd name="connsiteY17" fmla="*/ 193944 h 212964"/>
                <a:gd name="connsiteX18" fmla="*/ 15030 w 150166"/>
                <a:gd name="connsiteY18" fmla="*/ 167174 h 212964"/>
                <a:gd name="connsiteX19" fmla="*/ 14327 w 150166"/>
                <a:gd name="connsiteY19" fmla="*/ 165418 h 212964"/>
                <a:gd name="connsiteX20" fmla="*/ 0 w 150166"/>
                <a:gd name="connsiteY20" fmla="*/ 165418 h 212964"/>
                <a:gd name="connsiteX21" fmla="*/ 6368 w 150166"/>
                <a:gd name="connsiteY21" fmla="*/ 208283 h 212964"/>
                <a:gd name="connsiteX22" fmla="*/ 17932 w 150166"/>
                <a:gd name="connsiteY22" fmla="*/ 208283 h 212964"/>
                <a:gd name="connsiteX23" fmla="*/ 18740 w 150166"/>
                <a:gd name="connsiteY23" fmla="*/ 207510 h 212964"/>
                <a:gd name="connsiteX24" fmla="*/ 25997 w 150166"/>
                <a:gd name="connsiteY24" fmla="*/ 205895 h 212964"/>
                <a:gd name="connsiteX25" fmla="*/ 38393 w 150166"/>
                <a:gd name="connsiteY25" fmla="*/ 208107 h 212964"/>
                <a:gd name="connsiteX26" fmla="*/ 74445 w 150166"/>
                <a:gd name="connsiteY26" fmla="*/ 212965 h 212964"/>
                <a:gd name="connsiteX27" fmla="*/ 150167 w 150166"/>
                <a:gd name="connsiteY27" fmla="*/ 152648 h 212964"/>
                <a:gd name="connsiteX28" fmla="*/ 87930 w 150166"/>
                <a:gd name="connsiteY28" fmla="*/ 86267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150166" h="212964">
                  <a:moveTo>
                    <a:pt x="87918" y="86267"/>
                  </a:moveTo>
                  <a:lnTo>
                    <a:pt x="87918" y="86267"/>
                  </a:lnTo>
                  <a:cubicBezTo>
                    <a:pt x="64976" y="74750"/>
                    <a:pt x="43309" y="63864"/>
                    <a:pt x="43309" y="46282"/>
                  </a:cubicBezTo>
                  <a:cubicBezTo>
                    <a:pt x="43309" y="34507"/>
                    <a:pt x="52884" y="17078"/>
                    <a:pt x="73427" y="17078"/>
                  </a:cubicBezTo>
                  <a:cubicBezTo>
                    <a:pt x="97142" y="17078"/>
                    <a:pt x="111305" y="23574"/>
                    <a:pt x="120248" y="39739"/>
                  </a:cubicBezTo>
                  <a:lnTo>
                    <a:pt x="121032" y="41331"/>
                  </a:lnTo>
                  <a:lnTo>
                    <a:pt x="136109" y="41167"/>
                  </a:lnTo>
                  <a:lnTo>
                    <a:pt x="129589" y="3078"/>
                  </a:lnTo>
                  <a:lnTo>
                    <a:pt x="120026" y="3078"/>
                  </a:lnTo>
                  <a:lnTo>
                    <a:pt x="118551" y="3746"/>
                  </a:lnTo>
                  <a:cubicBezTo>
                    <a:pt x="116205" y="4922"/>
                    <a:pt x="113600" y="5486"/>
                    <a:pt x="110977" y="5384"/>
                  </a:cubicBezTo>
                  <a:cubicBezTo>
                    <a:pt x="106998" y="5232"/>
                    <a:pt x="105242" y="4577"/>
                    <a:pt x="101438" y="3804"/>
                  </a:cubicBezTo>
                  <a:cubicBezTo>
                    <a:pt x="99822" y="3465"/>
                    <a:pt x="98031" y="3008"/>
                    <a:pt x="95807" y="2634"/>
                  </a:cubicBezTo>
                  <a:cubicBezTo>
                    <a:pt x="87117" y="890"/>
                    <a:pt x="78276" y="8"/>
                    <a:pt x="69412" y="0"/>
                  </a:cubicBezTo>
                  <a:cubicBezTo>
                    <a:pt x="33945" y="0"/>
                    <a:pt x="5103" y="24710"/>
                    <a:pt x="5103" y="55096"/>
                  </a:cubicBezTo>
                  <a:cubicBezTo>
                    <a:pt x="5103" y="85846"/>
                    <a:pt x="34952" y="101917"/>
                    <a:pt x="63817" y="117415"/>
                  </a:cubicBezTo>
                  <a:cubicBezTo>
                    <a:pt x="88059" y="130455"/>
                    <a:pt x="110966" y="142804"/>
                    <a:pt x="110966" y="162094"/>
                  </a:cubicBezTo>
                  <a:cubicBezTo>
                    <a:pt x="110966" y="180249"/>
                    <a:pt x="94251" y="193944"/>
                    <a:pt x="72093" y="193944"/>
                  </a:cubicBezTo>
                  <a:cubicBezTo>
                    <a:pt x="41799" y="193944"/>
                    <a:pt x="23130" y="185177"/>
                    <a:pt x="15030" y="167174"/>
                  </a:cubicBezTo>
                  <a:lnTo>
                    <a:pt x="14327" y="165418"/>
                  </a:lnTo>
                  <a:lnTo>
                    <a:pt x="0" y="165418"/>
                  </a:lnTo>
                  <a:lnTo>
                    <a:pt x="6368" y="208283"/>
                  </a:lnTo>
                  <a:lnTo>
                    <a:pt x="17932" y="208283"/>
                  </a:lnTo>
                  <a:lnTo>
                    <a:pt x="18740" y="207510"/>
                  </a:lnTo>
                  <a:cubicBezTo>
                    <a:pt x="20461" y="205965"/>
                    <a:pt x="22603" y="205860"/>
                    <a:pt x="25997" y="205895"/>
                  </a:cubicBezTo>
                  <a:cubicBezTo>
                    <a:pt x="29392" y="205930"/>
                    <a:pt x="33313" y="206878"/>
                    <a:pt x="38393" y="208107"/>
                  </a:cubicBezTo>
                  <a:cubicBezTo>
                    <a:pt x="50154" y="211257"/>
                    <a:pt x="62270" y="212889"/>
                    <a:pt x="74445" y="212965"/>
                  </a:cubicBezTo>
                  <a:cubicBezTo>
                    <a:pt x="118328" y="212965"/>
                    <a:pt x="150167" y="187600"/>
                    <a:pt x="150167" y="152648"/>
                  </a:cubicBezTo>
                  <a:cubicBezTo>
                    <a:pt x="150167" y="117696"/>
                    <a:pt x="117052" y="100922"/>
                    <a:pt x="87930" y="86267"/>
                  </a:cubicBezTo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4" name="Freihandform: Form 9">
              <a:extLst>
                <a:ext uri="{FF2B5EF4-FFF2-40B4-BE49-F238E27FC236}">
                  <a16:creationId xmlns:a16="http://schemas.microsoft.com/office/drawing/2014/main" id="{588E974A-F5F5-831D-B7E1-64FF88CFCBC5}"/>
                </a:ext>
              </a:extLst>
            </p:cNvPr>
            <p:cNvSpPr/>
            <p:nvPr/>
          </p:nvSpPr>
          <p:spPr>
            <a:xfrm>
              <a:off x="10421346" y="335748"/>
              <a:ext cx="149780" cy="202570"/>
            </a:xfrm>
            <a:custGeom>
              <a:avLst/>
              <a:gdLst>
                <a:gd name="connsiteX0" fmla="*/ 10184 w 149780"/>
                <a:gd name="connsiteY0" fmla="*/ 176725 h 202570"/>
                <a:gd name="connsiteX1" fmla="*/ 2540 w 149780"/>
                <a:gd name="connsiteY1" fmla="*/ 187986 h 202570"/>
                <a:gd name="connsiteX2" fmla="*/ 0 w 149780"/>
                <a:gd name="connsiteY2" fmla="*/ 188232 h 202570"/>
                <a:gd name="connsiteX3" fmla="*/ 0 w 149780"/>
                <a:gd name="connsiteY3" fmla="*/ 202571 h 202570"/>
                <a:gd name="connsiteX4" fmla="*/ 144864 w 149780"/>
                <a:gd name="connsiteY4" fmla="*/ 202571 h 202570"/>
                <a:gd name="connsiteX5" fmla="*/ 149780 w 149780"/>
                <a:gd name="connsiteY5" fmla="*/ 162059 h 202570"/>
                <a:gd name="connsiteX6" fmla="*/ 134563 w 149780"/>
                <a:gd name="connsiteY6" fmla="*/ 162176 h 202570"/>
                <a:gd name="connsiteX7" fmla="*/ 133943 w 149780"/>
                <a:gd name="connsiteY7" fmla="*/ 164107 h 202570"/>
                <a:gd name="connsiteX8" fmla="*/ 101379 w 149780"/>
                <a:gd name="connsiteY8" fmla="*/ 182754 h 202570"/>
                <a:gd name="connsiteX9" fmla="*/ 64192 w 149780"/>
                <a:gd name="connsiteY9" fmla="*/ 182754 h 202570"/>
                <a:gd name="connsiteX10" fmla="*/ 49244 w 149780"/>
                <a:gd name="connsiteY10" fmla="*/ 162749 h 202570"/>
                <a:gd name="connsiteX11" fmla="*/ 49244 w 149780"/>
                <a:gd name="connsiteY11" fmla="*/ 107875 h 202570"/>
                <a:gd name="connsiteX12" fmla="*/ 89042 w 149780"/>
                <a:gd name="connsiteY12" fmla="*/ 107875 h 202570"/>
                <a:gd name="connsiteX13" fmla="*/ 107630 w 149780"/>
                <a:gd name="connsiteY13" fmla="*/ 118878 h 202570"/>
                <a:gd name="connsiteX14" fmla="*/ 108051 w 149780"/>
                <a:gd name="connsiteY14" fmla="*/ 121219 h 202570"/>
                <a:gd name="connsiteX15" fmla="*/ 122542 w 149780"/>
                <a:gd name="connsiteY15" fmla="*/ 121219 h 202570"/>
                <a:gd name="connsiteX16" fmla="*/ 122542 w 149780"/>
                <a:gd name="connsiteY16" fmla="*/ 75569 h 202570"/>
                <a:gd name="connsiteX17" fmla="*/ 108285 w 149780"/>
                <a:gd name="connsiteY17" fmla="*/ 75569 h 202570"/>
                <a:gd name="connsiteX18" fmla="*/ 107934 w 149780"/>
                <a:gd name="connsiteY18" fmla="*/ 77910 h 202570"/>
                <a:gd name="connsiteX19" fmla="*/ 89042 w 149780"/>
                <a:gd name="connsiteY19" fmla="*/ 88105 h 202570"/>
                <a:gd name="connsiteX20" fmla="*/ 49244 w 149780"/>
                <a:gd name="connsiteY20" fmla="*/ 88105 h 202570"/>
                <a:gd name="connsiteX21" fmla="*/ 49244 w 149780"/>
                <a:gd name="connsiteY21" fmla="*/ 19829 h 202570"/>
                <a:gd name="connsiteX22" fmla="*/ 102550 w 149780"/>
                <a:gd name="connsiteY22" fmla="*/ 19829 h 202570"/>
                <a:gd name="connsiteX23" fmla="*/ 124310 w 149780"/>
                <a:gd name="connsiteY23" fmla="*/ 34226 h 202570"/>
                <a:gd name="connsiteX24" fmla="*/ 124883 w 149780"/>
                <a:gd name="connsiteY24" fmla="*/ 36286 h 202570"/>
                <a:gd name="connsiteX25" fmla="*/ 140100 w 149780"/>
                <a:gd name="connsiteY25" fmla="*/ 36286 h 202570"/>
                <a:gd name="connsiteX26" fmla="*/ 137595 w 149780"/>
                <a:gd name="connsiteY26" fmla="*/ 0 h 202570"/>
                <a:gd name="connsiteX27" fmla="*/ 222 w 149780"/>
                <a:gd name="connsiteY27" fmla="*/ 0 h 202570"/>
                <a:gd name="connsiteX28" fmla="*/ 222 w 149780"/>
                <a:gd name="connsiteY28" fmla="*/ 14198 h 202570"/>
                <a:gd name="connsiteX29" fmla="*/ 2798 w 149780"/>
                <a:gd name="connsiteY29" fmla="*/ 14374 h 202570"/>
                <a:gd name="connsiteX30" fmla="*/ 10207 w 149780"/>
                <a:gd name="connsiteY30" fmla="*/ 32412 h 2025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149780" h="202570">
                  <a:moveTo>
                    <a:pt x="10184" y="176725"/>
                  </a:moveTo>
                  <a:cubicBezTo>
                    <a:pt x="9973" y="184626"/>
                    <a:pt x="9774" y="187260"/>
                    <a:pt x="2540" y="187986"/>
                  </a:cubicBezTo>
                  <a:lnTo>
                    <a:pt x="0" y="188232"/>
                  </a:lnTo>
                  <a:lnTo>
                    <a:pt x="0" y="202571"/>
                  </a:lnTo>
                  <a:lnTo>
                    <a:pt x="144864" y="202571"/>
                  </a:lnTo>
                  <a:lnTo>
                    <a:pt x="149780" y="162059"/>
                  </a:lnTo>
                  <a:lnTo>
                    <a:pt x="134563" y="162176"/>
                  </a:lnTo>
                  <a:lnTo>
                    <a:pt x="133943" y="164107"/>
                  </a:lnTo>
                  <a:cubicBezTo>
                    <a:pt x="127927" y="182964"/>
                    <a:pt x="121734" y="182906"/>
                    <a:pt x="101379" y="182754"/>
                  </a:cubicBezTo>
                  <a:lnTo>
                    <a:pt x="64192" y="182754"/>
                  </a:lnTo>
                  <a:cubicBezTo>
                    <a:pt x="49654" y="182754"/>
                    <a:pt x="49244" y="179909"/>
                    <a:pt x="49244" y="162749"/>
                  </a:cubicBezTo>
                  <a:lnTo>
                    <a:pt x="49244" y="107875"/>
                  </a:lnTo>
                  <a:lnTo>
                    <a:pt x="89042" y="107875"/>
                  </a:lnTo>
                  <a:cubicBezTo>
                    <a:pt x="102292" y="107875"/>
                    <a:pt x="105066" y="108168"/>
                    <a:pt x="107630" y="118878"/>
                  </a:cubicBezTo>
                  <a:lnTo>
                    <a:pt x="108051" y="121219"/>
                  </a:lnTo>
                  <a:lnTo>
                    <a:pt x="122542" y="121219"/>
                  </a:lnTo>
                  <a:lnTo>
                    <a:pt x="122542" y="75569"/>
                  </a:lnTo>
                  <a:lnTo>
                    <a:pt x="108285" y="75569"/>
                  </a:lnTo>
                  <a:lnTo>
                    <a:pt x="107934" y="77910"/>
                  </a:lnTo>
                  <a:cubicBezTo>
                    <a:pt x="106248" y="87368"/>
                    <a:pt x="103158" y="88105"/>
                    <a:pt x="89042" y="88105"/>
                  </a:cubicBezTo>
                  <a:lnTo>
                    <a:pt x="49244" y="88105"/>
                  </a:lnTo>
                  <a:lnTo>
                    <a:pt x="49244" y="19829"/>
                  </a:lnTo>
                  <a:lnTo>
                    <a:pt x="102550" y="19829"/>
                  </a:lnTo>
                  <a:cubicBezTo>
                    <a:pt x="116233" y="19829"/>
                    <a:pt x="120716" y="19829"/>
                    <a:pt x="124310" y="34226"/>
                  </a:cubicBezTo>
                  <a:lnTo>
                    <a:pt x="124883" y="36286"/>
                  </a:lnTo>
                  <a:lnTo>
                    <a:pt x="140100" y="36286"/>
                  </a:lnTo>
                  <a:lnTo>
                    <a:pt x="137595" y="0"/>
                  </a:lnTo>
                  <a:lnTo>
                    <a:pt x="222" y="0"/>
                  </a:lnTo>
                  <a:lnTo>
                    <a:pt x="222" y="14198"/>
                  </a:lnTo>
                  <a:lnTo>
                    <a:pt x="2798" y="14374"/>
                  </a:lnTo>
                  <a:cubicBezTo>
                    <a:pt x="10102" y="15252"/>
                    <a:pt x="10113" y="17886"/>
                    <a:pt x="10207" y="32412"/>
                  </a:cubicBez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5" name="Freihandform: Form 10">
              <a:extLst>
                <a:ext uri="{FF2B5EF4-FFF2-40B4-BE49-F238E27FC236}">
                  <a16:creationId xmlns:a16="http://schemas.microsoft.com/office/drawing/2014/main" id="{05704E5D-EF36-7ACB-EA1C-3F44DD81FE22}"/>
                </a:ext>
              </a:extLst>
            </p:cNvPr>
            <p:cNvSpPr/>
            <p:nvPr/>
          </p:nvSpPr>
          <p:spPr>
            <a:xfrm>
              <a:off x="11496262" y="332657"/>
              <a:ext cx="216465" cy="208540"/>
            </a:xfrm>
            <a:custGeom>
              <a:avLst/>
              <a:gdLst>
                <a:gd name="connsiteX0" fmla="*/ 145742 w 216465"/>
                <a:gd name="connsiteY0" fmla="*/ 131087 h 208540"/>
                <a:gd name="connsiteX1" fmla="*/ 125609 w 216465"/>
                <a:gd name="connsiteY1" fmla="*/ 111902 h 208540"/>
                <a:gd name="connsiteX2" fmla="*/ 162609 w 216465"/>
                <a:gd name="connsiteY2" fmla="*/ 59556 h 208540"/>
                <a:gd name="connsiteX3" fmla="*/ 74738 w 216465"/>
                <a:gd name="connsiteY3" fmla="*/ 0 h 208540"/>
                <a:gd name="connsiteX4" fmla="*/ 36321 w 216465"/>
                <a:gd name="connsiteY4" fmla="*/ 632 h 208540"/>
                <a:gd name="connsiteX5" fmla="*/ 15147 w 216465"/>
                <a:gd name="connsiteY5" fmla="*/ 1662 h 208540"/>
                <a:gd name="connsiteX6" fmla="*/ 6450 w 216465"/>
                <a:gd name="connsiteY6" fmla="*/ 2247 h 208540"/>
                <a:gd name="connsiteX7" fmla="*/ 6450 w 216465"/>
                <a:gd name="connsiteY7" fmla="*/ 16586 h 208540"/>
                <a:gd name="connsiteX8" fmla="*/ 8978 w 216465"/>
                <a:gd name="connsiteY8" fmla="*/ 16703 h 208540"/>
                <a:gd name="connsiteX9" fmla="*/ 17698 w 216465"/>
                <a:gd name="connsiteY9" fmla="*/ 25061 h 208540"/>
                <a:gd name="connsiteX10" fmla="*/ 17581 w 216465"/>
                <a:gd name="connsiteY10" fmla="*/ 173413 h 208540"/>
                <a:gd name="connsiteX11" fmla="*/ 2669 w 216465"/>
                <a:gd name="connsiteY11" fmla="*/ 191486 h 208540"/>
                <a:gd name="connsiteX12" fmla="*/ 0 w 216465"/>
                <a:gd name="connsiteY12" fmla="*/ 191626 h 208540"/>
                <a:gd name="connsiteX13" fmla="*/ 0 w 216465"/>
                <a:gd name="connsiteY13" fmla="*/ 205672 h 208540"/>
                <a:gd name="connsiteX14" fmla="*/ 76435 w 216465"/>
                <a:gd name="connsiteY14" fmla="*/ 205672 h 208540"/>
                <a:gd name="connsiteX15" fmla="*/ 76435 w 216465"/>
                <a:gd name="connsiteY15" fmla="*/ 191544 h 208540"/>
                <a:gd name="connsiteX16" fmla="*/ 73790 w 216465"/>
                <a:gd name="connsiteY16" fmla="*/ 191544 h 208540"/>
                <a:gd name="connsiteX17" fmla="*/ 58374 w 216465"/>
                <a:gd name="connsiteY17" fmla="*/ 164353 h 208540"/>
                <a:gd name="connsiteX18" fmla="*/ 58374 w 216465"/>
                <a:gd name="connsiteY18" fmla="*/ 124192 h 208540"/>
                <a:gd name="connsiteX19" fmla="*/ 82651 w 216465"/>
                <a:gd name="connsiteY19" fmla="*/ 123982 h 208540"/>
                <a:gd name="connsiteX20" fmla="*/ 115425 w 216465"/>
                <a:gd name="connsiteY20" fmla="*/ 153526 h 208540"/>
                <a:gd name="connsiteX21" fmla="*/ 132035 w 216465"/>
                <a:gd name="connsiteY21" fmla="*/ 170276 h 208540"/>
                <a:gd name="connsiteX22" fmla="*/ 141926 w 216465"/>
                <a:gd name="connsiteY22" fmla="*/ 180612 h 208540"/>
                <a:gd name="connsiteX23" fmla="*/ 148797 w 216465"/>
                <a:gd name="connsiteY23" fmla="*/ 188232 h 208540"/>
                <a:gd name="connsiteX24" fmla="*/ 201798 w 216465"/>
                <a:gd name="connsiteY24" fmla="*/ 208540 h 208540"/>
                <a:gd name="connsiteX25" fmla="*/ 213281 w 216465"/>
                <a:gd name="connsiteY25" fmla="*/ 208376 h 208540"/>
                <a:gd name="connsiteX26" fmla="*/ 216465 w 216465"/>
                <a:gd name="connsiteY26" fmla="*/ 208306 h 208540"/>
                <a:gd name="connsiteX27" fmla="*/ 216465 w 216465"/>
                <a:gd name="connsiteY27" fmla="*/ 194201 h 208540"/>
                <a:gd name="connsiteX28" fmla="*/ 213504 w 216465"/>
                <a:gd name="connsiteY28" fmla="*/ 193932 h 208540"/>
                <a:gd name="connsiteX29" fmla="*/ 213504 w 216465"/>
                <a:gd name="connsiteY29" fmla="*/ 193932 h 208540"/>
                <a:gd name="connsiteX30" fmla="*/ 190316 w 216465"/>
                <a:gd name="connsiteY30" fmla="*/ 177159 h 208540"/>
                <a:gd name="connsiteX31" fmla="*/ 171131 w 216465"/>
                <a:gd name="connsiteY31" fmla="*/ 156967 h 208540"/>
                <a:gd name="connsiteX32" fmla="*/ 119031 w 216465"/>
                <a:gd name="connsiteY32" fmla="*/ 62728 h 208540"/>
                <a:gd name="connsiteX33" fmla="*/ 65713 w 216465"/>
                <a:gd name="connsiteY33" fmla="*/ 110041 h 208540"/>
                <a:gd name="connsiteX34" fmla="*/ 58397 w 216465"/>
                <a:gd name="connsiteY34" fmla="*/ 109725 h 208540"/>
                <a:gd name="connsiteX35" fmla="*/ 58397 w 216465"/>
                <a:gd name="connsiteY35" fmla="*/ 15334 h 208540"/>
                <a:gd name="connsiteX36" fmla="*/ 71542 w 216465"/>
                <a:gd name="connsiteY36" fmla="*/ 15182 h 208540"/>
                <a:gd name="connsiteX37" fmla="*/ 119031 w 216465"/>
                <a:gd name="connsiteY37" fmla="*/ 62728 h 2085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16465" h="208540">
                  <a:moveTo>
                    <a:pt x="145742" y="131087"/>
                  </a:moveTo>
                  <a:cubicBezTo>
                    <a:pt x="143541" y="128874"/>
                    <a:pt x="132632" y="117930"/>
                    <a:pt x="125609" y="111902"/>
                  </a:cubicBezTo>
                  <a:cubicBezTo>
                    <a:pt x="150190" y="100325"/>
                    <a:pt x="162609" y="82721"/>
                    <a:pt x="162609" y="59556"/>
                  </a:cubicBezTo>
                  <a:cubicBezTo>
                    <a:pt x="162609" y="41647"/>
                    <a:pt x="154053" y="0"/>
                    <a:pt x="74738" y="0"/>
                  </a:cubicBezTo>
                  <a:cubicBezTo>
                    <a:pt x="68242" y="0"/>
                    <a:pt x="53037" y="0"/>
                    <a:pt x="36321" y="632"/>
                  </a:cubicBezTo>
                  <a:cubicBezTo>
                    <a:pt x="26243" y="1077"/>
                    <a:pt x="20332" y="1393"/>
                    <a:pt x="15147" y="1662"/>
                  </a:cubicBezTo>
                  <a:lnTo>
                    <a:pt x="6450" y="2247"/>
                  </a:lnTo>
                  <a:lnTo>
                    <a:pt x="6450" y="16586"/>
                  </a:lnTo>
                  <a:lnTo>
                    <a:pt x="8978" y="16703"/>
                  </a:lnTo>
                  <a:cubicBezTo>
                    <a:pt x="15240" y="17160"/>
                    <a:pt x="17616" y="18787"/>
                    <a:pt x="17698" y="25061"/>
                  </a:cubicBezTo>
                  <a:lnTo>
                    <a:pt x="17581" y="173413"/>
                  </a:lnTo>
                  <a:cubicBezTo>
                    <a:pt x="17195" y="185715"/>
                    <a:pt x="16411" y="190842"/>
                    <a:pt x="2669" y="191486"/>
                  </a:cubicBezTo>
                  <a:lnTo>
                    <a:pt x="0" y="191626"/>
                  </a:lnTo>
                  <a:lnTo>
                    <a:pt x="0" y="205672"/>
                  </a:lnTo>
                  <a:lnTo>
                    <a:pt x="76435" y="205672"/>
                  </a:lnTo>
                  <a:lnTo>
                    <a:pt x="76435" y="191544"/>
                  </a:lnTo>
                  <a:lnTo>
                    <a:pt x="73790" y="191544"/>
                  </a:lnTo>
                  <a:cubicBezTo>
                    <a:pt x="58362" y="190783"/>
                    <a:pt x="58374" y="187260"/>
                    <a:pt x="58374" y="164353"/>
                  </a:cubicBezTo>
                  <a:lnTo>
                    <a:pt x="58374" y="124192"/>
                  </a:lnTo>
                  <a:cubicBezTo>
                    <a:pt x="66462" y="124664"/>
                    <a:pt x="74574" y="124593"/>
                    <a:pt x="82651" y="123982"/>
                  </a:cubicBezTo>
                  <a:cubicBezTo>
                    <a:pt x="95000" y="133205"/>
                    <a:pt x="99635" y="137583"/>
                    <a:pt x="115425" y="153526"/>
                  </a:cubicBezTo>
                  <a:lnTo>
                    <a:pt x="132035" y="170276"/>
                  </a:lnTo>
                  <a:cubicBezTo>
                    <a:pt x="135804" y="174092"/>
                    <a:pt x="139058" y="177556"/>
                    <a:pt x="141926" y="180612"/>
                  </a:cubicBezTo>
                  <a:cubicBezTo>
                    <a:pt x="144525" y="183374"/>
                    <a:pt x="146784" y="185949"/>
                    <a:pt x="148797" y="188232"/>
                  </a:cubicBezTo>
                  <a:cubicBezTo>
                    <a:pt x="161087" y="202173"/>
                    <a:pt x="166706" y="208540"/>
                    <a:pt x="201798" y="208540"/>
                  </a:cubicBezTo>
                  <a:cubicBezTo>
                    <a:pt x="205310" y="208540"/>
                    <a:pt x="209044" y="208540"/>
                    <a:pt x="213281" y="208376"/>
                  </a:cubicBezTo>
                  <a:lnTo>
                    <a:pt x="216465" y="208306"/>
                  </a:lnTo>
                  <a:lnTo>
                    <a:pt x="216465" y="194201"/>
                  </a:lnTo>
                  <a:lnTo>
                    <a:pt x="213504" y="193932"/>
                  </a:lnTo>
                  <a:lnTo>
                    <a:pt x="213504" y="193932"/>
                  </a:lnTo>
                  <a:cubicBezTo>
                    <a:pt x="205228" y="193160"/>
                    <a:pt x="200253" y="187810"/>
                    <a:pt x="190316" y="177159"/>
                  </a:cubicBezTo>
                  <a:lnTo>
                    <a:pt x="171131" y="156967"/>
                  </a:lnTo>
                  <a:close/>
                  <a:moveTo>
                    <a:pt x="119031" y="62728"/>
                  </a:moveTo>
                  <a:cubicBezTo>
                    <a:pt x="119031" y="95210"/>
                    <a:pt x="104247" y="108554"/>
                    <a:pt x="65713" y="110041"/>
                  </a:cubicBezTo>
                  <a:cubicBezTo>
                    <a:pt x="64543" y="110041"/>
                    <a:pt x="61195" y="110041"/>
                    <a:pt x="58397" y="109725"/>
                  </a:cubicBezTo>
                  <a:lnTo>
                    <a:pt x="58397" y="15334"/>
                  </a:lnTo>
                  <a:cubicBezTo>
                    <a:pt x="62225" y="15182"/>
                    <a:pt x="68101" y="15182"/>
                    <a:pt x="71542" y="15182"/>
                  </a:cubicBezTo>
                  <a:cubicBezTo>
                    <a:pt x="103193" y="15170"/>
                    <a:pt x="119031" y="31159"/>
                    <a:pt x="119031" y="62728"/>
                  </a:cubicBez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8" name="Freihandform: Form 11">
              <a:extLst>
                <a:ext uri="{FF2B5EF4-FFF2-40B4-BE49-F238E27FC236}">
                  <a16:creationId xmlns:a16="http://schemas.microsoft.com/office/drawing/2014/main" id="{7ECE5ED0-6B0A-EE02-B575-242372D18830}"/>
                </a:ext>
              </a:extLst>
            </p:cNvPr>
            <p:cNvSpPr/>
            <p:nvPr/>
          </p:nvSpPr>
          <p:spPr>
            <a:xfrm>
              <a:off x="10830304" y="335724"/>
              <a:ext cx="207171" cy="202652"/>
            </a:xfrm>
            <a:custGeom>
              <a:avLst/>
              <a:gdLst>
                <a:gd name="connsiteX0" fmla="*/ 121430 w 207171"/>
                <a:gd name="connsiteY0" fmla="*/ 0 h 202652"/>
                <a:gd name="connsiteX1" fmla="*/ 90762 w 207171"/>
                <a:gd name="connsiteY1" fmla="*/ 0 h 202652"/>
                <a:gd name="connsiteX2" fmla="*/ 24979 w 207171"/>
                <a:gd name="connsiteY2" fmla="*/ 164529 h 202652"/>
                <a:gd name="connsiteX3" fmla="*/ 2610 w 207171"/>
                <a:gd name="connsiteY3" fmla="*/ 188431 h 202652"/>
                <a:gd name="connsiteX4" fmla="*/ 0 w 207171"/>
                <a:gd name="connsiteY4" fmla="*/ 188606 h 202652"/>
                <a:gd name="connsiteX5" fmla="*/ 0 w 207171"/>
                <a:gd name="connsiteY5" fmla="*/ 202652 h 202652"/>
                <a:gd name="connsiteX6" fmla="*/ 56735 w 207171"/>
                <a:gd name="connsiteY6" fmla="*/ 202652 h 202652"/>
                <a:gd name="connsiteX7" fmla="*/ 56735 w 207171"/>
                <a:gd name="connsiteY7" fmla="*/ 188712 h 202652"/>
                <a:gd name="connsiteX8" fmla="*/ 54184 w 207171"/>
                <a:gd name="connsiteY8" fmla="*/ 188489 h 202652"/>
                <a:gd name="connsiteX9" fmla="*/ 41530 w 207171"/>
                <a:gd name="connsiteY9" fmla="*/ 178879 h 202652"/>
                <a:gd name="connsiteX10" fmla="*/ 44562 w 207171"/>
                <a:gd name="connsiteY10" fmla="*/ 167478 h 202652"/>
                <a:gd name="connsiteX11" fmla="*/ 59779 w 207171"/>
                <a:gd name="connsiteY11" fmla="*/ 128196 h 202652"/>
                <a:gd name="connsiteX12" fmla="*/ 129706 w 207171"/>
                <a:gd name="connsiteY12" fmla="*/ 128196 h 202652"/>
                <a:gd name="connsiteX13" fmla="*/ 144923 w 207171"/>
                <a:gd name="connsiteY13" fmla="*/ 167385 h 202652"/>
                <a:gd name="connsiteX14" fmla="*/ 148844 w 207171"/>
                <a:gd name="connsiteY14" fmla="*/ 179734 h 202652"/>
                <a:gd name="connsiteX15" fmla="*/ 148937 w 207171"/>
                <a:gd name="connsiteY15" fmla="*/ 180202 h 202652"/>
                <a:gd name="connsiteX16" fmla="*/ 147896 w 207171"/>
                <a:gd name="connsiteY16" fmla="*/ 184802 h 202652"/>
                <a:gd name="connsiteX17" fmla="*/ 136577 w 207171"/>
                <a:gd name="connsiteY17" fmla="*/ 188243 h 202652"/>
                <a:gd name="connsiteX18" fmla="*/ 134002 w 207171"/>
                <a:gd name="connsiteY18" fmla="*/ 188442 h 202652"/>
                <a:gd name="connsiteX19" fmla="*/ 134002 w 207171"/>
                <a:gd name="connsiteY19" fmla="*/ 202606 h 202652"/>
                <a:gd name="connsiteX20" fmla="*/ 207171 w 207171"/>
                <a:gd name="connsiteY20" fmla="*/ 202606 h 202652"/>
                <a:gd name="connsiteX21" fmla="*/ 207171 w 207171"/>
                <a:gd name="connsiteY21" fmla="*/ 188700 h 202652"/>
                <a:gd name="connsiteX22" fmla="*/ 204502 w 207171"/>
                <a:gd name="connsiteY22" fmla="*/ 188559 h 202652"/>
                <a:gd name="connsiteX23" fmla="*/ 184603 w 207171"/>
                <a:gd name="connsiteY23" fmla="*/ 167759 h 202652"/>
                <a:gd name="connsiteX24" fmla="*/ 121641 w 207171"/>
                <a:gd name="connsiteY24" fmla="*/ 107161 h 202652"/>
                <a:gd name="connsiteX25" fmla="*/ 67797 w 207171"/>
                <a:gd name="connsiteY25" fmla="*/ 107161 h 202652"/>
                <a:gd name="connsiteX26" fmla="*/ 95140 w 207171"/>
                <a:gd name="connsiteY26" fmla="*/ 37012 h 2026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207171" h="202652">
                  <a:moveTo>
                    <a:pt x="121430" y="0"/>
                  </a:moveTo>
                  <a:lnTo>
                    <a:pt x="90762" y="0"/>
                  </a:lnTo>
                  <a:lnTo>
                    <a:pt x="24979" y="164529"/>
                  </a:lnTo>
                  <a:cubicBezTo>
                    <a:pt x="17172" y="183994"/>
                    <a:pt x="15755" y="187506"/>
                    <a:pt x="2610" y="188431"/>
                  </a:cubicBezTo>
                  <a:lnTo>
                    <a:pt x="0" y="188606"/>
                  </a:lnTo>
                  <a:lnTo>
                    <a:pt x="0" y="202652"/>
                  </a:lnTo>
                  <a:lnTo>
                    <a:pt x="56735" y="202652"/>
                  </a:lnTo>
                  <a:lnTo>
                    <a:pt x="56735" y="188712"/>
                  </a:lnTo>
                  <a:lnTo>
                    <a:pt x="54184" y="188489"/>
                  </a:lnTo>
                  <a:cubicBezTo>
                    <a:pt x="43649" y="187319"/>
                    <a:pt x="41202" y="183315"/>
                    <a:pt x="41530" y="178879"/>
                  </a:cubicBezTo>
                  <a:cubicBezTo>
                    <a:pt x="41741" y="176105"/>
                    <a:pt x="42572" y="172839"/>
                    <a:pt x="44562" y="167478"/>
                  </a:cubicBezTo>
                  <a:lnTo>
                    <a:pt x="59779" y="128196"/>
                  </a:lnTo>
                  <a:lnTo>
                    <a:pt x="129706" y="128196"/>
                  </a:lnTo>
                  <a:lnTo>
                    <a:pt x="144923" y="167385"/>
                  </a:lnTo>
                  <a:cubicBezTo>
                    <a:pt x="147369" y="174326"/>
                    <a:pt x="147907" y="175672"/>
                    <a:pt x="148844" y="179734"/>
                  </a:cubicBezTo>
                  <a:lnTo>
                    <a:pt x="148937" y="180202"/>
                  </a:lnTo>
                  <a:cubicBezTo>
                    <a:pt x="149324" y="181814"/>
                    <a:pt x="148939" y="183513"/>
                    <a:pt x="147896" y="184802"/>
                  </a:cubicBezTo>
                  <a:cubicBezTo>
                    <a:pt x="146421" y="186651"/>
                    <a:pt x="142780" y="187763"/>
                    <a:pt x="136577" y="188243"/>
                  </a:cubicBezTo>
                  <a:lnTo>
                    <a:pt x="134002" y="188442"/>
                  </a:lnTo>
                  <a:lnTo>
                    <a:pt x="134002" y="202606"/>
                  </a:lnTo>
                  <a:lnTo>
                    <a:pt x="207171" y="202606"/>
                  </a:lnTo>
                  <a:lnTo>
                    <a:pt x="207171" y="188700"/>
                  </a:lnTo>
                  <a:lnTo>
                    <a:pt x="204502" y="188559"/>
                  </a:lnTo>
                  <a:cubicBezTo>
                    <a:pt x="191989" y="187986"/>
                    <a:pt x="190854" y="184896"/>
                    <a:pt x="184603" y="167759"/>
                  </a:cubicBezTo>
                  <a:close/>
                  <a:moveTo>
                    <a:pt x="121641" y="107161"/>
                  </a:moveTo>
                  <a:lnTo>
                    <a:pt x="67797" y="107161"/>
                  </a:lnTo>
                  <a:lnTo>
                    <a:pt x="95140" y="37012"/>
                  </a:ln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9" name="Freihandform: Form 12">
              <a:extLst>
                <a:ext uri="{FF2B5EF4-FFF2-40B4-BE49-F238E27FC236}">
                  <a16:creationId xmlns:a16="http://schemas.microsoft.com/office/drawing/2014/main" id="{4C35C0CA-B9A0-7EDB-8C17-3D7F3042393A}"/>
                </a:ext>
              </a:extLst>
            </p:cNvPr>
            <p:cNvSpPr/>
            <p:nvPr/>
          </p:nvSpPr>
          <p:spPr>
            <a:xfrm>
              <a:off x="11256925" y="330434"/>
              <a:ext cx="218794" cy="212964"/>
            </a:xfrm>
            <a:custGeom>
              <a:avLst/>
              <a:gdLst>
                <a:gd name="connsiteX0" fmla="*/ 109397 w 218794"/>
                <a:gd name="connsiteY0" fmla="*/ 0 h 212964"/>
                <a:gd name="connsiteX1" fmla="*/ 0 w 218794"/>
                <a:gd name="connsiteY1" fmla="*/ 111878 h 212964"/>
                <a:gd name="connsiteX2" fmla="*/ 108227 w 218794"/>
                <a:gd name="connsiteY2" fmla="*/ 212965 h 212964"/>
                <a:gd name="connsiteX3" fmla="*/ 218794 w 218794"/>
                <a:gd name="connsiteY3" fmla="*/ 102994 h 212964"/>
                <a:gd name="connsiteX4" fmla="*/ 109397 w 218794"/>
                <a:gd name="connsiteY4" fmla="*/ 0 h 212964"/>
                <a:gd name="connsiteX5" fmla="*/ 177861 w 218794"/>
                <a:gd name="connsiteY5" fmla="*/ 110919 h 212964"/>
                <a:gd name="connsiteX6" fmla="*/ 112897 w 218794"/>
                <a:gd name="connsiteY6" fmla="*/ 197210 h 212964"/>
                <a:gd name="connsiteX7" fmla="*/ 40945 w 218794"/>
                <a:gd name="connsiteY7" fmla="*/ 103310 h 212964"/>
                <a:gd name="connsiteX8" fmla="*/ 107056 w 218794"/>
                <a:gd name="connsiteY8" fmla="*/ 15744 h 212964"/>
                <a:gd name="connsiteX9" fmla="*/ 177861 w 218794"/>
                <a:gd name="connsiteY9" fmla="*/ 110919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18794" h="212964">
                  <a:moveTo>
                    <a:pt x="109397" y="0"/>
                  </a:moveTo>
                  <a:cubicBezTo>
                    <a:pt x="45966" y="0"/>
                    <a:pt x="0" y="47043"/>
                    <a:pt x="0" y="111878"/>
                  </a:cubicBezTo>
                  <a:cubicBezTo>
                    <a:pt x="0" y="170405"/>
                    <a:pt x="45522" y="212965"/>
                    <a:pt x="108227" y="212965"/>
                  </a:cubicBezTo>
                  <a:cubicBezTo>
                    <a:pt x="171259" y="212965"/>
                    <a:pt x="218794" y="165687"/>
                    <a:pt x="218794" y="102994"/>
                  </a:cubicBezTo>
                  <a:cubicBezTo>
                    <a:pt x="218794" y="42349"/>
                    <a:pt x="173811" y="0"/>
                    <a:pt x="109397" y="0"/>
                  </a:cubicBezTo>
                  <a:close/>
                  <a:moveTo>
                    <a:pt x="177861" y="110919"/>
                  </a:moveTo>
                  <a:cubicBezTo>
                    <a:pt x="177861" y="162539"/>
                    <a:pt x="151758" y="197210"/>
                    <a:pt x="112897" y="197210"/>
                  </a:cubicBezTo>
                  <a:cubicBezTo>
                    <a:pt x="77138" y="197210"/>
                    <a:pt x="40945" y="164950"/>
                    <a:pt x="40945" y="103310"/>
                  </a:cubicBezTo>
                  <a:cubicBezTo>
                    <a:pt x="40945" y="49302"/>
                    <a:pt x="66275" y="15744"/>
                    <a:pt x="107056" y="15744"/>
                  </a:cubicBezTo>
                  <a:cubicBezTo>
                    <a:pt x="148738" y="15744"/>
                    <a:pt x="177861" y="54886"/>
                    <a:pt x="177861" y="110919"/>
                  </a:cubicBez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0" name="Freihandform: Form 13">
              <a:extLst>
                <a:ext uri="{FF2B5EF4-FFF2-40B4-BE49-F238E27FC236}">
                  <a16:creationId xmlns:a16="http://schemas.microsoft.com/office/drawing/2014/main" id="{35E01CE3-9B7E-3132-01F5-5EEDC7B1C432}"/>
                </a:ext>
              </a:extLst>
            </p:cNvPr>
            <p:cNvSpPr/>
            <p:nvPr/>
          </p:nvSpPr>
          <p:spPr>
            <a:xfrm>
              <a:off x="11045727" y="330434"/>
              <a:ext cx="196811" cy="212964"/>
            </a:xfrm>
            <a:custGeom>
              <a:avLst/>
              <a:gdLst>
                <a:gd name="connsiteX0" fmla="*/ 196812 w 196811"/>
                <a:gd name="connsiteY0" fmla="*/ 165348 h 212964"/>
                <a:gd name="connsiteX1" fmla="*/ 180635 w 196811"/>
                <a:gd name="connsiteY1" fmla="*/ 165547 h 212964"/>
                <a:gd name="connsiteX2" fmla="*/ 179828 w 196811"/>
                <a:gd name="connsiteY2" fmla="*/ 166659 h 212964"/>
                <a:gd name="connsiteX3" fmla="*/ 118960 w 196811"/>
                <a:gd name="connsiteY3" fmla="*/ 195922 h 212964"/>
                <a:gd name="connsiteX4" fmla="*/ 70255 w 196811"/>
                <a:gd name="connsiteY4" fmla="*/ 176585 h 212964"/>
                <a:gd name="connsiteX5" fmla="*/ 41729 w 196811"/>
                <a:gd name="connsiteY5" fmla="*/ 102023 h 212964"/>
                <a:gd name="connsiteX6" fmla="*/ 113623 w 196811"/>
                <a:gd name="connsiteY6" fmla="*/ 15720 h 212964"/>
                <a:gd name="connsiteX7" fmla="*/ 179359 w 196811"/>
                <a:gd name="connsiteY7" fmla="*/ 50391 h 212964"/>
                <a:gd name="connsiteX8" fmla="*/ 180155 w 196811"/>
                <a:gd name="connsiteY8" fmla="*/ 51959 h 212964"/>
                <a:gd name="connsiteX9" fmla="*/ 193558 w 196811"/>
                <a:gd name="connsiteY9" fmla="*/ 51749 h 212964"/>
                <a:gd name="connsiteX10" fmla="*/ 192259 w 196811"/>
                <a:gd name="connsiteY10" fmla="*/ 9142 h 212964"/>
                <a:gd name="connsiteX11" fmla="*/ 181267 w 196811"/>
                <a:gd name="connsiteY11" fmla="*/ 9142 h 212964"/>
                <a:gd name="connsiteX12" fmla="*/ 180694 w 196811"/>
                <a:gd name="connsiteY12" fmla="*/ 9528 h 212964"/>
                <a:gd name="connsiteX13" fmla="*/ 176515 w 196811"/>
                <a:gd name="connsiteY13" fmla="*/ 10453 h 212964"/>
                <a:gd name="connsiteX14" fmla="*/ 163768 w 196811"/>
                <a:gd name="connsiteY14" fmla="*/ 7761 h 212964"/>
                <a:gd name="connsiteX15" fmla="*/ 112441 w 196811"/>
                <a:gd name="connsiteY15" fmla="*/ 0 h 212964"/>
                <a:gd name="connsiteX16" fmla="*/ 0 w 196811"/>
                <a:gd name="connsiteY16" fmla="*/ 110275 h 212964"/>
                <a:gd name="connsiteX17" fmla="*/ 110029 w 196811"/>
                <a:gd name="connsiteY17" fmla="*/ 212965 h 212964"/>
                <a:gd name="connsiteX18" fmla="*/ 149382 w 196811"/>
                <a:gd name="connsiteY18" fmla="*/ 208411 h 212964"/>
                <a:gd name="connsiteX19" fmla="*/ 169808 w 196811"/>
                <a:gd name="connsiteY19" fmla="*/ 205661 h 212964"/>
                <a:gd name="connsiteX20" fmla="*/ 172804 w 196811"/>
                <a:gd name="connsiteY20" fmla="*/ 205567 h 212964"/>
                <a:gd name="connsiteX21" fmla="*/ 179406 w 196811"/>
                <a:gd name="connsiteY21" fmla="*/ 205719 h 212964"/>
                <a:gd name="connsiteX22" fmla="*/ 182414 w 196811"/>
                <a:gd name="connsiteY22" fmla="*/ 206012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96811" h="212964">
                  <a:moveTo>
                    <a:pt x="196812" y="165348"/>
                  </a:moveTo>
                  <a:lnTo>
                    <a:pt x="180635" y="165547"/>
                  </a:lnTo>
                  <a:lnTo>
                    <a:pt x="179828" y="166659"/>
                  </a:lnTo>
                  <a:cubicBezTo>
                    <a:pt x="163440" y="186839"/>
                    <a:pt x="146315" y="195044"/>
                    <a:pt x="118960" y="195922"/>
                  </a:cubicBezTo>
                  <a:cubicBezTo>
                    <a:pt x="100712" y="196577"/>
                    <a:pt x="83927" y="189824"/>
                    <a:pt x="70255" y="176585"/>
                  </a:cubicBezTo>
                  <a:cubicBezTo>
                    <a:pt x="52123" y="159027"/>
                    <a:pt x="41729" y="131859"/>
                    <a:pt x="41729" y="102023"/>
                  </a:cubicBezTo>
                  <a:cubicBezTo>
                    <a:pt x="41729" y="50403"/>
                    <a:pt x="70618" y="15720"/>
                    <a:pt x="113623" y="15720"/>
                  </a:cubicBezTo>
                  <a:cubicBezTo>
                    <a:pt x="143799" y="15720"/>
                    <a:pt x="168989" y="28994"/>
                    <a:pt x="179359" y="50391"/>
                  </a:cubicBezTo>
                  <a:lnTo>
                    <a:pt x="180155" y="51959"/>
                  </a:lnTo>
                  <a:lnTo>
                    <a:pt x="193558" y="51749"/>
                  </a:lnTo>
                  <a:lnTo>
                    <a:pt x="192259" y="9142"/>
                  </a:lnTo>
                  <a:lnTo>
                    <a:pt x="181267" y="9142"/>
                  </a:lnTo>
                  <a:lnTo>
                    <a:pt x="180694" y="9528"/>
                  </a:lnTo>
                  <a:cubicBezTo>
                    <a:pt x="179431" y="10264"/>
                    <a:pt x="177970" y="10587"/>
                    <a:pt x="176515" y="10453"/>
                  </a:cubicBezTo>
                  <a:cubicBezTo>
                    <a:pt x="173928" y="10359"/>
                    <a:pt x="169492" y="9282"/>
                    <a:pt x="163768" y="7761"/>
                  </a:cubicBezTo>
                  <a:cubicBezTo>
                    <a:pt x="152039" y="4682"/>
                    <a:pt x="134259" y="0"/>
                    <a:pt x="112441" y="0"/>
                  </a:cubicBezTo>
                  <a:cubicBezTo>
                    <a:pt x="34765" y="0"/>
                    <a:pt x="0" y="55377"/>
                    <a:pt x="0" y="110275"/>
                  </a:cubicBezTo>
                  <a:cubicBezTo>
                    <a:pt x="0" y="172652"/>
                    <a:pt x="43192" y="212965"/>
                    <a:pt x="110029" y="212965"/>
                  </a:cubicBezTo>
                  <a:cubicBezTo>
                    <a:pt x="124965" y="212965"/>
                    <a:pt x="138461" y="210448"/>
                    <a:pt x="149382" y="208411"/>
                  </a:cubicBezTo>
                  <a:cubicBezTo>
                    <a:pt x="156745" y="207030"/>
                    <a:pt x="163838" y="205789"/>
                    <a:pt x="169808" y="205661"/>
                  </a:cubicBezTo>
                  <a:cubicBezTo>
                    <a:pt x="171119" y="205661"/>
                    <a:pt x="172032" y="205661"/>
                    <a:pt x="172804" y="205567"/>
                  </a:cubicBezTo>
                  <a:cubicBezTo>
                    <a:pt x="175006" y="205507"/>
                    <a:pt x="177209" y="205558"/>
                    <a:pt x="179406" y="205719"/>
                  </a:cubicBezTo>
                  <a:lnTo>
                    <a:pt x="182414" y="206012"/>
                  </a:ln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26" name="Inhaltsplatzhalter 25">
            <a:extLst>
              <a:ext uri="{FF2B5EF4-FFF2-40B4-BE49-F238E27FC236}">
                <a16:creationId xmlns:a16="http://schemas.microsoft.com/office/drawing/2014/main" id="{15525724-B25E-C57C-BD5B-DA167EB3BDED}"/>
              </a:ext>
            </a:extLst>
          </p:cNvPr>
          <p:cNvSpPr>
            <a:spLocks noGrp="1"/>
          </p:cNvSpPr>
          <p:nvPr>
            <p:ph sz="quarter" idx="24" hasCustomPrompt="1"/>
          </p:nvPr>
        </p:nvSpPr>
        <p:spPr>
          <a:xfrm>
            <a:off x="667318" y="1224000"/>
            <a:ext cx="2268000" cy="2268000"/>
          </a:xfrm>
        </p:spPr>
        <p:txBody>
          <a:bodyPr anchor="ctr"/>
          <a:lstStyle>
            <a:lvl1pPr algn="ctr">
              <a:defRPr/>
            </a:lvl1pPr>
          </a:lstStyle>
          <a:p>
            <a:pPr lvl="0"/>
            <a:r>
              <a:rPr lang="de-DE"/>
              <a:t>Foto</a:t>
            </a:r>
          </a:p>
        </p:txBody>
      </p:sp>
      <p:sp>
        <p:nvSpPr>
          <p:cNvPr id="2" name="Rechteck: abgerundete Ecken 11">
            <a:extLst>
              <a:ext uri="{FF2B5EF4-FFF2-40B4-BE49-F238E27FC236}">
                <a16:creationId xmlns:a16="http://schemas.microsoft.com/office/drawing/2014/main" id="{2570A174-E936-064E-B6EF-61EC5246BD46}"/>
              </a:ext>
            </a:extLst>
          </p:cNvPr>
          <p:cNvSpPr>
            <a:spLocks/>
          </p:cNvSpPr>
          <p:nvPr userDrawn="1"/>
        </p:nvSpPr>
        <p:spPr>
          <a:xfrm>
            <a:off x="3247391" y="1194852"/>
            <a:ext cx="628377" cy="215444"/>
          </a:xfrm>
          <a:prstGeom prst="roundRect">
            <a:avLst>
              <a:gd name="adj" fmla="val 0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400" b="1" cap="all" spc="0" baseline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KUS</a:t>
            </a:r>
          </a:p>
        </p:txBody>
      </p:sp>
      <p:sp>
        <p:nvSpPr>
          <p:cNvPr id="6" name="Rechteck: abgerundete Ecken 11">
            <a:extLst>
              <a:ext uri="{FF2B5EF4-FFF2-40B4-BE49-F238E27FC236}">
                <a16:creationId xmlns:a16="http://schemas.microsoft.com/office/drawing/2014/main" id="{F9564871-2315-F917-936A-A63BE5426721}"/>
              </a:ext>
            </a:extLst>
          </p:cNvPr>
          <p:cNvSpPr>
            <a:spLocks/>
          </p:cNvSpPr>
          <p:nvPr userDrawn="1"/>
        </p:nvSpPr>
        <p:spPr>
          <a:xfrm>
            <a:off x="6684354" y="1194852"/>
            <a:ext cx="3771610" cy="215444"/>
          </a:xfrm>
          <a:prstGeom prst="roundRect">
            <a:avLst>
              <a:gd name="adj" fmla="val 0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400" b="1" cap="all" spc="0" baseline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USBILDUNG &amp; BERUFLICHE ERFAHRUNG</a:t>
            </a:r>
          </a:p>
        </p:txBody>
      </p:sp>
      <p:sp>
        <p:nvSpPr>
          <p:cNvPr id="20" name="Textplatzhalter 19">
            <a:extLst>
              <a:ext uri="{FF2B5EF4-FFF2-40B4-BE49-F238E27FC236}">
                <a16:creationId xmlns:a16="http://schemas.microsoft.com/office/drawing/2014/main" id="{BE89FB22-ACD1-278F-920A-970D75D4DDA3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478797" y="4082736"/>
            <a:ext cx="5501753" cy="2281242"/>
          </a:xfrm>
        </p:spPr>
        <p:txBody>
          <a:bodyPr wrap="square">
            <a:noAutofit/>
          </a:bodyPr>
          <a:lstStyle>
            <a:lvl1pPr marL="171450" indent="-17145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Wingdings" pitchFamily="2" charset="2"/>
              <a:buChar char="§"/>
              <a:defRPr sz="1000" b="0">
                <a:solidFill>
                  <a:schemeClr val="bg1"/>
                </a:solidFill>
              </a:defRPr>
            </a:lvl1pPr>
          </a:lstStyle>
          <a:p>
            <a:pPr lvl="0"/>
            <a:endParaRPr lang="de-DE"/>
          </a:p>
        </p:txBody>
      </p:sp>
      <p:sp>
        <p:nvSpPr>
          <p:cNvPr id="21" name="Textplatzhalter 19">
            <a:extLst>
              <a:ext uri="{FF2B5EF4-FFF2-40B4-BE49-F238E27FC236}">
                <a16:creationId xmlns:a16="http://schemas.microsoft.com/office/drawing/2014/main" id="{E307136A-0F0F-491A-C7D1-A6953ABC9F84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6198247" y="4082736"/>
            <a:ext cx="5514479" cy="2281242"/>
          </a:xfrm>
        </p:spPr>
        <p:txBody>
          <a:bodyPr wrap="square">
            <a:noAutofit/>
          </a:bodyPr>
          <a:lstStyle>
            <a:lvl1pPr marL="171450" indent="-17145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Wingdings" pitchFamily="2" charset="2"/>
              <a:buChar char="§"/>
              <a:defRPr sz="1000" b="0">
                <a:solidFill>
                  <a:schemeClr val="bg1"/>
                </a:solidFill>
              </a:defRPr>
            </a:lvl1pPr>
          </a:lstStyle>
          <a:p>
            <a:pPr lvl="0"/>
            <a:endParaRPr lang="de-DE"/>
          </a:p>
        </p:txBody>
      </p:sp>
      <p:sp>
        <p:nvSpPr>
          <p:cNvPr id="23" name="Textplatzhalter 19">
            <a:extLst>
              <a:ext uri="{FF2B5EF4-FFF2-40B4-BE49-F238E27FC236}">
                <a16:creationId xmlns:a16="http://schemas.microsoft.com/office/drawing/2014/main" id="{2E654FE3-3BF6-5457-8FEE-A564F438199D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3247391" y="1530910"/>
            <a:ext cx="3214778" cy="1950990"/>
          </a:xfrm>
        </p:spPr>
        <p:txBody>
          <a:bodyPr wrap="square">
            <a:noAutofit/>
          </a:bodyPr>
          <a:lstStyle>
            <a:lvl1pPr marL="171450" indent="-17145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Wingdings" pitchFamily="2" charset="2"/>
              <a:buChar char="§"/>
              <a:defRPr sz="10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/>
              <a:t>Fokus hinzufügen</a:t>
            </a:r>
          </a:p>
        </p:txBody>
      </p:sp>
      <p:sp>
        <p:nvSpPr>
          <p:cNvPr id="24" name="Textplatzhalter 19">
            <a:extLst>
              <a:ext uri="{FF2B5EF4-FFF2-40B4-BE49-F238E27FC236}">
                <a16:creationId xmlns:a16="http://schemas.microsoft.com/office/drawing/2014/main" id="{EE0DCADE-741F-18AD-F878-A5B92F29B9EF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6684354" y="1530910"/>
            <a:ext cx="5028373" cy="1950990"/>
          </a:xfrm>
        </p:spPr>
        <p:txBody>
          <a:bodyPr wrap="square">
            <a:noAutofit/>
          </a:bodyPr>
          <a:lstStyle>
            <a:lvl1pPr marL="171450" indent="-17145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Wingdings" pitchFamily="2" charset="2"/>
              <a:buChar char="§"/>
              <a:defRPr sz="10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/>
              <a:t>Ausbildung &amp; berufliche Erfahrung hinzufügen</a:t>
            </a:r>
          </a:p>
          <a:p>
            <a:pPr lvl="0"/>
            <a:endParaRPr lang="de-DE"/>
          </a:p>
        </p:txBody>
      </p:sp>
      <p:sp>
        <p:nvSpPr>
          <p:cNvPr id="10" name="Bildplatzhalter 9">
            <a:extLst>
              <a:ext uri="{FF2B5EF4-FFF2-40B4-BE49-F238E27FC236}">
                <a16:creationId xmlns:a16="http://schemas.microsoft.com/office/drawing/2014/main" id="{4259AD18-06AD-A538-861B-28ED3C8BB8A0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666750" y="1223963"/>
            <a:ext cx="2268538" cy="2268537"/>
          </a:xfrm>
        </p:spPr>
        <p:txBody>
          <a:bodyPr/>
          <a:lstStyle>
            <a:lvl1pPr>
              <a:defRPr/>
            </a:lvl1pPr>
          </a:lstStyle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79094599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96193920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8993E3E4-2B58-DF82-BFED-B63E380CDE8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8993E3E4-2B58-DF82-BFED-B63E380CDE8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37E1018-DBBB-1540-B459-2C30FD226EB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de-DE"/>
              <a:t>August 2023</a:t>
            </a:r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15BC77D-EC62-CC4F-B6B5-7018C1A5DF5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GB"/>
              <a:t>Senacor  |  Deutsche Bank  |  Request for Proposal – Miles &amp; More // Mobile app solution development 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92D2A1F-057B-FD48-8EBD-840084F70A7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A6B5369A-0001-614B-A688-40736B4FCA44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31792E51-865A-854E-A6D3-2BDC0B61DE98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-5941" y="11074"/>
            <a:ext cx="12192000" cy="31396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32995929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L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530B8B3A-DF28-E95D-C9E0-7FE5C87EFDC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530B8B3A-DF28-E95D-C9E0-7FE5C87EFDC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Foliennummer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>
            <a:lvl1pPr rtl="0">
              <a:defRPr/>
            </a:lvl1pPr>
          </a:lstStyle>
          <a:p>
            <a:fld id="{86CB4B4D-7CA3-9044-876B-883B54F8677D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5" name="Titeltext"/>
          <p:cNvSpPr>
            <a:spLocks noGrp="1"/>
          </p:cNvSpPr>
          <p:nvPr>
            <p:ph type="title" hasCustomPrompt="1"/>
          </p:nvPr>
        </p:nvSpPr>
        <p:spPr>
          <a:prstGeom prst="rect">
            <a:avLst/>
          </a:prstGeom>
        </p:spPr>
        <p:txBody>
          <a:bodyPr vert="horz"/>
          <a:lstStyle>
            <a:lvl1pPr rtl="0">
              <a:defRPr/>
            </a:lvl1pPr>
          </a:lstStyle>
          <a:p>
            <a:r>
              <a:rPr lang="en-GB"/>
              <a:t>Titeltext</a:t>
            </a:r>
          </a:p>
        </p:txBody>
      </p:sp>
      <p:sp>
        <p:nvSpPr>
          <p:cNvPr id="16" name="Textebene 1…"/>
          <p:cNvSpPr>
            <a:spLocks noGrp="1"/>
          </p:cNvSpPr>
          <p:nvPr>
            <p:ph type="body" idx="1" hasCustomPrompt="1"/>
          </p:nvPr>
        </p:nvSpPr>
        <p:spPr>
          <a:prstGeom prst="rect">
            <a:avLst/>
          </a:prstGeo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r>
              <a:rPr lang="en-GB"/>
              <a:t>Textebene 1</a:t>
            </a:r>
          </a:p>
          <a:p>
            <a:pPr lvl="1"/>
            <a:r>
              <a:rPr lang="en-GB"/>
              <a:t>Textebene 2</a:t>
            </a:r>
          </a:p>
          <a:p>
            <a:pPr lvl="2"/>
            <a:r>
              <a:rPr lang="en-GB"/>
              <a:t>Textebene 3</a:t>
            </a:r>
          </a:p>
          <a:p>
            <a:pPr lvl="3"/>
            <a:r>
              <a:rPr lang="en-GB"/>
              <a:t>Textebene 4</a:t>
            </a:r>
          </a:p>
          <a:p>
            <a:pPr lvl="4"/>
            <a:r>
              <a:rPr lang="en-GB"/>
              <a:t>Textebene 5</a:t>
            </a:r>
          </a:p>
        </p:txBody>
      </p:sp>
    </p:spTree>
    <p:extLst>
      <p:ext uri="{BB962C8B-B14F-4D97-AF65-F5344CB8AC3E}">
        <p14:creationId xmlns:p14="http://schemas.microsoft.com/office/powerpoint/2010/main" val="4045009532"/>
      </p:ext>
    </p:extLst>
  </p:cSld>
  <p:clrMapOvr>
    <a:masterClrMapping/>
  </p:clrMapOvr>
  <p:transition spd="med"/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0x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E96E0F94-7269-E88E-15DF-D95FF7BE9E7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E96E0F94-7269-E88E-15DF-D95FF7BE9E7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C40E9F1B-B387-DA38-62A6-B2423B8108F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8800" y="370800"/>
            <a:ext cx="9511200" cy="216000"/>
          </a:xfrm>
        </p:spPr>
        <p:txBody>
          <a:bodyPr anchor="b" anchorCtr="0"/>
          <a:lstStyle>
            <a:lvl1pPr rtl="0">
              <a:lnSpc>
                <a:spcPct val="100000"/>
              </a:lnSpc>
              <a:defRPr cap="all" baseline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Kapitelüberschrift einfügen</a:t>
            </a:r>
          </a:p>
        </p:txBody>
      </p:sp>
      <p:sp>
        <p:nvSpPr>
          <p:cNvPr id="9" name="Titel 8">
            <a:extLst>
              <a:ext uri="{FF2B5EF4-FFF2-40B4-BE49-F238E27FC236}">
                <a16:creationId xmlns:a16="http://schemas.microsoft.com/office/drawing/2014/main" id="{B9C6B567-A3DD-383B-5D53-39816E68874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8800" y="720000"/>
            <a:ext cx="11232000" cy="276999"/>
          </a:xfrm>
        </p:spPr>
        <p:txBody>
          <a:bodyPr vert="horz">
            <a:spAutoFit/>
          </a:bodyPr>
          <a:lstStyle>
            <a:lvl1pPr rtl="0"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Mastertitelformat bearbeiten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3ADA2EDB-8255-1AEF-541F-AAC2AEF43AA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 rtl="0">
              <a:defRPr>
                <a:solidFill>
                  <a:schemeClr val="bg2"/>
                </a:solidFill>
              </a:defRPr>
            </a:lvl1pPr>
          </a:lstStyle>
          <a:p>
            <a:r>
              <a:rPr lang="de-DE"/>
              <a:t>August 2023</a:t>
            </a:r>
            <a:endParaRPr lang="en-GB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BD8E3C6-1F6B-E90E-F35A-1D4552A4E45F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 rtl="0">
              <a:defRPr>
                <a:solidFill>
                  <a:schemeClr val="bg2"/>
                </a:solidFill>
              </a:defRPr>
            </a:lvl1pPr>
          </a:lstStyle>
          <a:p>
            <a:r>
              <a:rPr lang="en-GB"/>
              <a:t>Senacor  |  Deutsche Bank  |  Request for Proposal – Miles &amp; More // Mobile app solution development 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24D0A48C-FB44-00CB-4086-57ADB020BAC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 rtl="0">
              <a:defRPr>
                <a:solidFill>
                  <a:schemeClr val="bg2"/>
                </a:solidFill>
              </a:defRPr>
            </a:lvl1pPr>
          </a:lstStyle>
          <a:p>
            <a:fld id="{E63DBB63-5C76-DA40-949C-F00FB53C9B50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97576008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Referenz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73BDCA8B-4C25-7583-9D7E-95B686A2756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73BDCA8B-4C25-7583-9D7E-95B686A2756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platzhalter 22">
            <a:extLst>
              <a:ext uri="{FF2B5EF4-FFF2-40B4-BE49-F238E27FC236}">
                <a16:creationId xmlns:a16="http://schemas.microsoft.com/office/drawing/2014/main" id="{0FFD150C-8DA6-73ED-930A-C293DFDCF430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5788475" y="2578825"/>
            <a:ext cx="3393624" cy="215444"/>
          </a:xfrm>
          <a:noFill/>
          <a:ln>
            <a:noFill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de-DE" sz="1400" cap="none" baseline="0">
                <a:solidFill>
                  <a:schemeClr val="accent4"/>
                </a:solidFill>
              </a:defRPr>
            </a:lvl1pPr>
          </a:lstStyle>
          <a:p>
            <a:pPr lvl="0">
              <a:spcAft>
                <a:spcPts val="330"/>
              </a:spcAft>
            </a:pPr>
            <a:r>
              <a:rPr lang="en-GB"/>
              <a:t>Objectives and Successes</a:t>
            </a:r>
          </a:p>
        </p:txBody>
      </p:sp>
      <p:sp>
        <p:nvSpPr>
          <p:cNvPr id="8" name="Textplatzhalter 22">
            <a:extLst>
              <a:ext uri="{FF2B5EF4-FFF2-40B4-BE49-F238E27FC236}">
                <a16:creationId xmlns:a16="http://schemas.microsoft.com/office/drawing/2014/main" id="{1A0DF424-5224-333B-D7ED-012341F2A83B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9498553" y="2578825"/>
            <a:ext cx="2214021" cy="215444"/>
          </a:xfrm>
          <a:noFill/>
          <a:ln>
            <a:noFill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de-DE" sz="1400" cap="all" baseline="0" dirty="0">
                <a:solidFill>
                  <a:schemeClr val="accent4"/>
                </a:solidFill>
              </a:defRPr>
            </a:lvl1pPr>
          </a:lstStyle>
          <a:p>
            <a:pPr lvl="0">
              <a:spcAft>
                <a:spcPts val="330"/>
              </a:spcAft>
            </a:pPr>
            <a:r>
              <a:rPr lang="en-GB"/>
              <a:t>UNSERE ROLLE</a:t>
            </a:r>
          </a:p>
        </p:txBody>
      </p:sp>
      <p:sp>
        <p:nvSpPr>
          <p:cNvPr id="212" name="Rechteck 211">
            <a:extLst>
              <a:ext uri="{FF2B5EF4-FFF2-40B4-BE49-F238E27FC236}">
                <a16:creationId xmlns:a16="http://schemas.microsoft.com/office/drawing/2014/main" id="{08299A53-0EAB-545E-5B9A-36A306D68AA5}"/>
              </a:ext>
            </a:extLst>
          </p:cNvPr>
          <p:cNvSpPr/>
          <p:nvPr userDrawn="1"/>
        </p:nvSpPr>
        <p:spPr>
          <a:xfrm>
            <a:off x="0" y="1619887"/>
            <a:ext cx="12191701" cy="416173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3" name="Textplatzhalter 22">
            <a:extLst>
              <a:ext uri="{FF2B5EF4-FFF2-40B4-BE49-F238E27FC236}">
                <a16:creationId xmlns:a16="http://schemas.microsoft.com/office/drawing/2014/main" id="{ED253BC4-2080-05B1-48AE-043B6B12C8C6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085219" y="1741574"/>
            <a:ext cx="1188000" cy="172800"/>
          </a:xfrm>
        </p:spPr>
        <p:txBody>
          <a:bodyPr anchor="ctr"/>
          <a:lstStyle>
            <a:lvl1pPr rtl="0">
              <a:defRPr sz="11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KUNDE</a:t>
            </a:r>
          </a:p>
        </p:txBody>
      </p:sp>
      <p:sp>
        <p:nvSpPr>
          <p:cNvPr id="25" name="Textplatzhalter 22">
            <a:extLst>
              <a:ext uri="{FF2B5EF4-FFF2-40B4-BE49-F238E27FC236}">
                <a16:creationId xmlns:a16="http://schemas.microsoft.com/office/drawing/2014/main" id="{A2D186FC-2E00-F070-63F1-7CA81450AAB8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769888" y="1741574"/>
            <a:ext cx="2942686" cy="172800"/>
          </a:xfrm>
        </p:spPr>
        <p:txBody>
          <a:bodyPr anchor="ctr"/>
          <a:lstStyle>
            <a:lvl1pPr rtl="0">
              <a:defRPr sz="11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PROJEKTTYP</a:t>
            </a:r>
          </a:p>
        </p:txBody>
      </p:sp>
      <p:sp>
        <p:nvSpPr>
          <p:cNvPr id="26" name="Textplatzhalter 22">
            <a:extLst>
              <a:ext uri="{FF2B5EF4-FFF2-40B4-BE49-F238E27FC236}">
                <a16:creationId xmlns:a16="http://schemas.microsoft.com/office/drawing/2014/main" id="{79AD2616-F94C-FABA-8115-420C3A1FB671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7313068" y="1741574"/>
            <a:ext cx="1188000" cy="172800"/>
          </a:xfrm>
        </p:spPr>
        <p:txBody>
          <a:bodyPr anchor="ctr"/>
          <a:lstStyle>
            <a:lvl1pPr rtl="0">
              <a:defRPr sz="11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# CONSULTANTS</a:t>
            </a:r>
          </a:p>
        </p:txBody>
      </p:sp>
      <p:sp>
        <p:nvSpPr>
          <p:cNvPr id="32" name="Textplatzhalter 22">
            <a:extLst>
              <a:ext uri="{FF2B5EF4-FFF2-40B4-BE49-F238E27FC236}">
                <a16:creationId xmlns:a16="http://schemas.microsoft.com/office/drawing/2014/main" id="{B4E20E9E-EDC9-F77D-9230-C69827DE75EF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256408" y="1741574"/>
            <a:ext cx="1188000" cy="172800"/>
          </a:xfrm>
        </p:spPr>
        <p:txBody>
          <a:bodyPr anchor="ctr"/>
          <a:lstStyle>
            <a:lvl1pPr rtl="0">
              <a:defRPr sz="11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LAUFZEIT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63C62097-443B-8684-8B05-508CFAB1E4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8799" y="720000"/>
            <a:ext cx="11233927" cy="615600"/>
          </a:xfrm>
        </p:spPr>
        <p:txBody>
          <a:bodyPr vert="horz"/>
          <a:lstStyle>
            <a:lvl1pPr rtl="0">
              <a:defRPr>
                <a:solidFill>
                  <a:schemeClr val="tx1"/>
                </a:solidFill>
              </a:defRPr>
            </a:lvl1pPr>
          </a:lstStyle>
          <a:p>
            <a:r>
              <a:rPr lang="en-GB"/>
              <a:t>Referenztitel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0B99572A-F465-965F-1DFA-4B0F2FA7E1F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de-DE"/>
              <a:t>August 2023</a:t>
            </a:r>
            <a:endParaRPr lang="en-GB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F386B6DE-C23E-AE7F-195A-333EC0FEEC3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GB"/>
              <a:t>Senacor  |  Deutsche Bank  |  Request for Proposal – Miles &amp; More // Mobile app solution development 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33C06440-8751-9F9B-B2A1-E4E9D549660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E63DBB63-5C76-DA40-949C-F00FB53C9B50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13" name="Rechteck 29">
            <a:extLst>
              <a:ext uri="{FF2B5EF4-FFF2-40B4-BE49-F238E27FC236}">
                <a16:creationId xmlns:a16="http://schemas.microsoft.com/office/drawing/2014/main" id="{660ACAC8-428A-1956-5DFE-8A24938CF81F}"/>
              </a:ext>
            </a:extLst>
          </p:cNvPr>
          <p:cNvSpPr/>
          <p:nvPr userDrawn="1"/>
        </p:nvSpPr>
        <p:spPr>
          <a:xfrm>
            <a:off x="1072093" y="1720251"/>
            <a:ext cx="1266615" cy="215444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scene3d>
            <a:camera prst="obliqueTopLeft"/>
            <a:lightRig rig="threePt" dir="t"/>
          </a:scene3d>
        </p:spPr>
        <p:txBody>
          <a:bodyPr wrap="square" lIns="0" tIns="0" rIns="0" bIns="0" rtlCol="0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KEY FACTS</a:t>
            </a:r>
            <a:endParaRPr kumimoji="0" lang="en-GB" sz="1600" b="1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5" name="Freeform 127">
            <a:extLst>
              <a:ext uri="{FF2B5EF4-FFF2-40B4-BE49-F238E27FC236}">
                <a16:creationId xmlns:a16="http://schemas.microsoft.com/office/drawing/2014/main" id="{C8285784-2A18-1334-2385-F8ACD41DDB85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2658349" y="1717475"/>
            <a:ext cx="288000" cy="221906"/>
          </a:xfrm>
          <a:custGeom>
            <a:avLst/>
            <a:gdLst>
              <a:gd name="T0" fmla="*/ 199 w 309"/>
              <a:gd name="T1" fmla="*/ 232 h 244"/>
              <a:gd name="T2" fmla="*/ 222 w 309"/>
              <a:gd name="T3" fmla="*/ 225 h 244"/>
              <a:gd name="T4" fmla="*/ 248 w 309"/>
              <a:gd name="T5" fmla="*/ 202 h 244"/>
              <a:gd name="T6" fmla="*/ 273 w 309"/>
              <a:gd name="T7" fmla="*/ 177 h 244"/>
              <a:gd name="T8" fmla="*/ 308 w 309"/>
              <a:gd name="T9" fmla="*/ 128 h 244"/>
              <a:gd name="T10" fmla="*/ 216 w 309"/>
              <a:gd name="T11" fmla="*/ 12 h 244"/>
              <a:gd name="T12" fmla="*/ 115 w 309"/>
              <a:gd name="T13" fmla="*/ 19 h 244"/>
              <a:gd name="T14" fmla="*/ 3 w 309"/>
              <a:gd name="T15" fmla="*/ 136 h 244"/>
              <a:gd name="T16" fmla="*/ 44 w 309"/>
              <a:gd name="T17" fmla="*/ 199 h 244"/>
              <a:gd name="T18" fmla="*/ 60 w 309"/>
              <a:gd name="T19" fmla="*/ 217 h 244"/>
              <a:gd name="T20" fmla="*/ 82 w 309"/>
              <a:gd name="T21" fmla="*/ 228 h 244"/>
              <a:gd name="T22" fmla="*/ 128 w 309"/>
              <a:gd name="T23" fmla="*/ 244 h 244"/>
              <a:gd name="T24" fmla="*/ 147 w 309"/>
              <a:gd name="T25" fmla="*/ 233 h 244"/>
              <a:gd name="T26" fmla="*/ 122 w 309"/>
              <a:gd name="T27" fmla="*/ 30 h 244"/>
              <a:gd name="T28" fmla="*/ 194 w 309"/>
              <a:gd name="T29" fmla="*/ 20 h 244"/>
              <a:gd name="T30" fmla="*/ 263 w 309"/>
              <a:gd name="T31" fmla="*/ 31 h 244"/>
              <a:gd name="T32" fmla="*/ 278 w 309"/>
              <a:gd name="T33" fmla="*/ 143 h 244"/>
              <a:gd name="T34" fmla="*/ 136 w 309"/>
              <a:gd name="T35" fmla="*/ 85 h 244"/>
              <a:gd name="T36" fmla="*/ 122 w 309"/>
              <a:gd name="T37" fmla="*/ 30 h 244"/>
              <a:gd name="T38" fmla="*/ 45 w 309"/>
              <a:gd name="T39" fmla="*/ 186 h 244"/>
              <a:gd name="T40" fmla="*/ 32 w 309"/>
              <a:gd name="T41" fmla="*/ 155 h 244"/>
              <a:gd name="T42" fmla="*/ 73 w 309"/>
              <a:gd name="T43" fmla="*/ 206 h 244"/>
              <a:gd name="T44" fmla="*/ 57 w 309"/>
              <a:gd name="T45" fmla="*/ 195 h 244"/>
              <a:gd name="T46" fmla="*/ 67 w 309"/>
              <a:gd name="T47" fmla="*/ 172 h 244"/>
              <a:gd name="T48" fmla="*/ 85 w 309"/>
              <a:gd name="T49" fmla="*/ 171 h 244"/>
              <a:gd name="T50" fmla="*/ 73 w 309"/>
              <a:gd name="T51" fmla="*/ 206 h 244"/>
              <a:gd name="T52" fmla="*/ 102 w 309"/>
              <a:gd name="T53" fmla="*/ 221 h 244"/>
              <a:gd name="T54" fmla="*/ 97 w 309"/>
              <a:gd name="T55" fmla="*/ 181 h 244"/>
              <a:gd name="T56" fmla="*/ 110 w 309"/>
              <a:gd name="T57" fmla="*/ 197 h 244"/>
              <a:gd name="T58" fmla="*/ 137 w 309"/>
              <a:gd name="T59" fmla="*/ 219 h 244"/>
              <a:gd name="T60" fmla="*/ 132 w 309"/>
              <a:gd name="T61" fmla="*/ 230 h 244"/>
              <a:gd name="T62" fmla="*/ 115 w 309"/>
              <a:gd name="T63" fmla="*/ 225 h 244"/>
              <a:gd name="T64" fmla="*/ 138 w 309"/>
              <a:gd name="T65" fmla="*/ 205 h 244"/>
              <a:gd name="T66" fmla="*/ 123 w 309"/>
              <a:gd name="T67" fmla="*/ 187 h 244"/>
              <a:gd name="T68" fmla="*/ 98 w 309"/>
              <a:gd name="T69" fmla="*/ 168 h 244"/>
              <a:gd name="T70" fmla="*/ 68 w 309"/>
              <a:gd name="T71" fmla="*/ 152 h 244"/>
              <a:gd name="T72" fmla="*/ 15 w 309"/>
              <a:gd name="T73" fmla="*/ 128 h 244"/>
              <a:gd name="T74" fmla="*/ 107 w 309"/>
              <a:gd name="T75" fmla="*/ 32 h 244"/>
              <a:gd name="T76" fmla="*/ 113 w 309"/>
              <a:gd name="T77" fmla="*/ 116 h 244"/>
              <a:gd name="T78" fmla="*/ 231 w 309"/>
              <a:gd name="T79" fmla="*/ 115 h 244"/>
              <a:gd name="T80" fmla="*/ 264 w 309"/>
              <a:gd name="T81" fmla="*/ 167 h 244"/>
              <a:gd name="T82" fmla="*/ 220 w 309"/>
              <a:gd name="T83" fmla="*/ 145 h 244"/>
              <a:gd name="T84" fmla="*/ 199 w 309"/>
              <a:gd name="T85" fmla="*/ 133 h 244"/>
              <a:gd name="T86" fmla="*/ 246 w 309"/>
              <a:gd name="T87" fmla="*/ 183 h 244"/>
              <a:gd name="T88" fmla="*/ 228 w 309"/>
              <a:gd name="T89" fmla="*/ 197 h 244"/>
              <a:gd name="T90" fmla="*/ 188 w 309"/>
              <a:gd name="T91" fmla="*/ 167 h 244"/>
              <a:gd name="T92" fmla="*/ 219 w 309"/>
              <a:gd name="T93" fmla="*/ 206 h 244"/>
              <a:gd name="T94" fmla="*/ 204 w 309"/>
              <a:gd name="T95" fmla="*/ 219 h 244"/>
              <a:gd name="T96" fmla="*/ 162 w 309"/>
              <a:gd name="T97" fmla="*/ 196 h 244"/>
              <a:gd name="T98" fmla="*/ 188 w 309"/>
              <a:gd name="T99" fmla="*/ 224 h 244"/>
              <a:gd name="T100" fmla="*/ 151 w 309"/>
              <a:gd name="T101" fmla="*/ 220 h 24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309" h="244">
                <a:moveTo>
                  <a:pt x="176" y="239"/>
                </a:moveTo>
                <a:cubicBezTo>
                  <a:pt x="181" y="239"/>
                  <a:pt x="184" y="238"/>
                  <a:pt x="188" y="238"/>
                </a:cubicBezTo>
                <a:cubicBezTo>
                  <a:pt x="192" y="236"/>
                  <a:pt x="196" y="235"/>
                  <a:pt x="199" y="232"/>
                </a:cubicBezTo>
                <a:cubicBezTo>
                  <a:pt x="199" y="232"/>
                  <a:pt x="199" y="232"/>
                  <a:pt x="199" y="232"/>
                </a:cubicBezTo>
                <a:cubicBezTo>
                  <a:pt x="199" y="232"/>
                  <a:pt x="199" y="232"/>
                  <a:pt x="199" y="232"/>
                </a:cubicBezTo>
                <a:cubicBezTo>
                  <a:pt x="200" y="232"/>
                  <a:pt x="201" y="232"/>
                  <a:pt x="201" y="232"/>
                </a:cubicBezTo>
                <a:cubicBezTo>
                  <a:pt x="202" y="232"/>
                  <a:pt x="203" y="233"/>
                  <a:pt x="204" y="233"/>
                </a:cubicBezTo>
                <a:cubicBezTo>
                  <a:pt x="210" y="233"/>
                  <a:pt x="217" y="230"/>
                  <a:pt x="222" y="225"/>
                </a:cubicBezTo>
                <a:cubicBezTo>
                  <a:pt x="227" y="221"/>
                  <a:pt x="230" y="216"/>
                  <a:pt x="232" y="210"/>
                </a:cubicBezTo>
                <a:cubicBezTo>
                  <a:pt x="232" y="210"/>
                  <a:pt x="232" y="210"/>
                  <a:pt x="232" y="210"/>
                </a:cubicBezTo>
                <a:cubicBezTo>
                  <a:pt x="232" y="210"/>
                  <a:pt x="232" y="210"/>
                  <a:pt x="232" y="210"/>
                </a:cubicBezTo>
                <a:cubicBezTo>
                  <a:pt x="238" y="209"/>
                  <a:pt x="243" y="206"/>
                  <a:pt x="248" y="202"/>
                </a:cubicBezTo>
                <a:cubicBezTo>
                  <a:pt x="254" y="197"/>
                  <a:pt x="257" y="191"/>
                  <a:pt x="259" y="185"/>
                </a:cubicBezTo>
                <a:cubicBezTo>
                  <a:pt x="259" y="185"/>
                  <a:pt x="259" y="185"/>
                  <a:pt x="259" y="185"/>
                </a:cubicBezTo>
                <a:cubicBezTo>
                  <a:pt x="259" y="185"/>
                  <a:pt x="259" y="185"/>
                  <a:pt x="259" y="185"/>
                </a:cubicBezTo>
                <a:cubicBezTo>
                  <a:pt x="264" y="184"/>
                  <a:pt x="269" y="181"/>
                  <a:pt x="273" y="177"/>
                </a:cubicBezTo>
                <a:cubicBezTo>
                  <a:pt x="280" y="171"/>
                  <a:pt x="284" y="164"/>
                  <a:pt x="285" y="155"/>
                </a:cubicBezTo>
                <a:cubicBezTo>
                  <a:pt x="285" y="155"/>
                  <a:pt x="285" y="155"/>
                  <a:pt x="285" y="155"/>
                </a:cubicBezTo>
                <a:cubicBezTo>
                  <a:pt x="307" y="135"/>
                  <a:pt x="307" y="135"/>
                  <a:pt x="307" y="135"/>
                </a:cubicBezTo>
                <a:cubicBezTo>
                  <a:pt x="308" y="134"/>
                  <a:pt x="309" y="131"/>
                  <a:pt x="308" y="128"/>
                </a:cubicBezTo>
                <a:cubicBezTo>
                  <a:pt x="274" y="23"/>
                  <a:pt x="274" y="23"/>
                  <a:pt x="274" y="23"/>
                </a:cubicBezTo>
                <a:cubicBezTo>
                  <a:pt x="273" y="21"/>
                  <a:pt x="271" y="19"/>
                  <a:pt x="269" y="19"/>
                </a:cubicBezTo>
                <a:cubicBezTo>
                  <a:pt x="269" y="19"/>
                  <a:pt x="269" y="19"/>
                  <a:pt x="269" y="19"/>
                </a:cubicBezTo>
                <a:cubicBezTo>
                  <a:pt x="264" y="18"/>
                  <a:pt x="226" y="12"/>
                  <a:pt x="216" y="12"/>
                </a:cubicBezTo>
                <a:cubicBezTo>
                  <a:pt x="213" y="12"/>
                  <a:pt x="205" y="10"/>
                  <a:pt x="198" y="7"/>
                </a:cubicBezTo>
                <a:cubicBezTo>
                  <a:pt x="185" y="4"/>
                  <a:pt x="171" y="0"/>
                  <a:pt x="162" y="1"/>
                </a:cubicBezTo>
                <a:cubicBezTo>
                  <a:pt x="148" y="2"/>
                  <a:pt x="123" y="15"/>
                  <a:pt x="115" y="19"/>
                </a:cubicBezTo>
                <a:cubicBezTo>
                  <a:pt x="115" y="19"/>
                  <a:pt x="115" y="19"/>
                  <a:pt x="115" y="19"/>
                </a:cubicBezTo>
                <a:cubicBezTo>
                  <a:pt x="45" y="19"/>
                  <a:pt x="45" y="19"/>
                  <a:pt x="45" y="19"/>
                </a:cubicBezTo>
                <a:cubicBezTo>
                  <a:pt x="42" y="19"/>
                  <a:pt x="40" y="21"/>
                  <a:pt x="39" y="23"/>
                </a:cubicBezTo>
                <a:cubicBezTo>
                  <a:pt x="1" y="128"/>
                  <a:pt x="1" y="128"/>
                  <a:pt x="1" y="128"/>
                </a:cubicBezTo>
                <a:cubicBezTo>
                  <a:pt x="0" y="131"/>
                  <a:pt x="1" y="134"/>
                  <a:pt x="3" y="136"/>
                </a:cubicBezTo>
                <a:cubicBezTo>
                  <a:pt x="21" y="148"/>
                  <a:pt x="21" y="148"/>
                  <a:pt x="21" y="148"/>
                </a:cubicBezTo>
                <a:cubicBezTo>
                  <a:pt x="21" y="148"/>
                  <a:pt x="21" y="148"/>
                  <a:pt x="21" y="148"/>
                </a:cubicBezTo>
                <a:cubicBezTo>
                  <a:pt x="16" y="156"/>
                  <a:pt x="11" y="168"/>
                  <a:pt x="14" y="175"/>
                </a:cubicBezTo>
                <a:cubicBezTo>
                  <a:pt x="17" y="184"/>
                  <a:pt x="33" y="196"/>
                  <a:pt x="44" y="199"/>
                </a:cubicBezTo>
                <a:cubicBezTo>
                  <a:pt x="44" y="199"/>
                  <a:pt x="44" y="199"/>
                  <a:pt x="44" y="199"/>
                </a:cubicBezTo>
                <a:cubicBezTo>
                  <a:pt x="44" y="199"/>
                  <a:pt x="44" y="199"/>
                  <a:pt x="44" y="199"/>
                </a:cubicBezTo>
                <a:cubicBezTo>
                  <a:pt x="44" y="200"/>
                  <a:pt x="44" y="201"/>
                  <a:pt x="44" y="201"/>
                </a:cubicBezTo>
                <a:cubicBezTo>
                  <a:pt x="46" y="208"/>
                  <a:pt x="51" y="213"/>
                  <a:pt x="60" y="217"/>
                </a:cubicBezTo>
                <a:cubicBezTo>
                  <a:pt x="65" y="219"/>
                  <a:pt x="70" y="220"/>
                  <a:pt x="74" y="220"/>
                </a:cubicBezTo>
                <a:cubicBezTo>
                  <a:pt x="74" y="220"/>
                  <a:pt x="74" y="220"/>
                  <a:pt x="74" y="220"/>
                </a:cubicBezTo>
                <a:cubicBezTo>
                  <a:pt x="74" y="220"/>
                  <a:pt x="74" y="220"/>
                  <a:pt x="74" y="220"/>
                </a:cubicBezTo>
                <a:cubicBezTo>
                  <a:pt x="76" y="223"/>
                  <a:pt x="79" y="225"/>
                  <a:pt x="82" y="228"/>
                </a:cubicBezTo>
                <a:cubicBezTo>
                  <a:pt x="89" y="233"/>
                  <a:pt x="99" y="235"/>
                  <a:pt x="106" y="234"/>
                </a:cubicBezTo>
                <a:cubicBezTo>
                  <a:pt x="106" y="234"/>
                  <a:pt x="106" y="234"/>
                  <a:pt x="106" y="234"/>
                </a:cubicBezTo>
                <a:cubicBezTo>
                  <a:pt x="106" y="234"/>
                  <a:pt x="106" y="234"/>
                  <a:pt x="106" y="234"/>
                </a:cubicBezTo>
                <a:cubicBezTo>
                  <a:pt x="111" y="239"/>
                  <a:pt x="119" y="244"/>
                  <a:pt x="128" y="244"/>
                </a:cubicBezTo>
                <a:cubicBezTo>
                  <a:pt x="128" y="244"/>
                  <a:pt x="128" y="244"/>
                  <a:pt x="128" y="244"/>
                </a:cubicBezTo>
                <a:cubicBezTo>
                  <a:pt x="132" y="244"/>
                  <a:pt x="136" y="243"/>
                  <a:pt x="139" y="241"/>
                </a:cubicBezTo>
                <a:cubicBezTo>
                  <a:pt x="142" y="239"/>
                  <a:pt x="145" y="237"/>
                  <a:pt x="147" y="233"/>
                </a:cubicBezTo>
                <a:cubicBezTo>
                  <a:pt x="147" y="233"/>
                  <a:pt x="147" y="233"/>
                  <a:pt x="147" y="233"/>
                </a:cubicBezTo>
                <a:cubicBezTo>
                  <a:pt x="147" y="233"/>
                  <a:pt x="147" y="233"/>
                  <a:pt x="147" y="233"/>
                </a:cubicBezTo>
                <a:cubicBezTo>
                  <a:pt x="156" y="237"/>
                  <a:pt x="167" y="239"/>
                  <a:pt x="176" y="239"/>
                </a:cubicBezTo>
                <a:close/>
                <a:moveTo>
                  <a:pt x="122" y="30"/>
                </a:moveTo>
                <a:cubicBezTo>
                  <a:pt x="122" y="30"/>
                  <a:pt x="122" y="30"/>
                  <a:pt x="122" y="30"/>
                </a:cubicBezTo>
                <a:cubicBezTo>
                  <a:pt x="132" y="25"/>
                  <a:pt x="153" y="14"/>
                  <a:pt x="163" y="14"/>
                </a:cubicBezTo>
                <a:cubicBezTo>
                  <a:pt x="163" y="14"/>
                  <a:pt x="164" y="14"/>
                  <a:pt x="164" y="14"/>
                </a:cubicBezTo>
                <a:cubicBezTo>
                  <a:pt x="171" y="14"/>
                  <a:pt x="184" y="17"/>
                  <a:pt x="194" y="20"/>
                </a:cubicBezTo>
                <a:cubicBezTo>
                  <a:pt x="194" y="20"/>
                  <a:pt x="194" y="20"/>
                  <a:pt x="194" y="20"/>
                </a:cubicBezTo>
                <a:cubicBezTo>
                  <a:pt x="203" y="23"/>
                  <a:pt x="211" y="25"/>
                  <a:pt x="216" y="25"/>
                </a:cubicBezTo>
                <a:cubicBezTo>
                  <a:pt x="222" y="25"/>
                  <a:pt x="245" y="29"/>
                  <a:pt x="262" y="31"/>
                </a:cubicBezTo>
                <a:cubicBezTo>
                  <a:pt x="263" y="31"/>
                  <a:pt x="263" y="31"/>
                  <a:pt x="263" y="31"/>
                </a:cubicBezTo>
                <a:cubicBezTo>
                  <a:pt x="263" y="31"/>
                  <a:pt x="263" y="31"/>
                  <a:pt x="263" y="31"/>
                </a:cubicBezTo>
                <a:cubicBezTo>
                  <a:pt x="295" y="129"/>
                  <a:pt x="295" y="129"/>
                  <a:pt x="295" y="129"/>
                </a:cubicBezTo>
                <a:cubicBezTo>
                  <a:pt x="294" y="129"/>
                  <a:pt x="294" y="129"/>
                  <a:pt x="294" y="129"/>
                </a:cubicBezTo>
                <a:cubicBezTo>
                  <a:pt x="279" y="143"/>
                  <a:pt x="279" y="143"/>
                  <a:pt x="279" y="143"/>
                </a:cubicBezTo>
                <a:cubicBezTo>
                  <a:pt x="278" y="143"/>
                  <a:pt x="278" y="143"/>
                  <a:pt x="278" y="143"/>
                </a:cubicBezTo>
                <a:cubicBezTo>
                  <a:pt x="241" y="106"/>
                  <a:pt x="241" y="106"/>
                  <a:pt x="241" y="106"/>
                </a:cubicBezTo>
                <a:cubicBezTo>
                  <a:pt x="232" y="96"/>
                  <a:pt x="202" y="64"/>
                  <a:pt x="191" y="61"/>
                </a:cubicBezTo>
                <a:cubicBezTo>
                  <a:pt x="174" y="56"/>
                  <a:pt x="159" y="59"/>
                  <a:pt x="147" y="69"/>
                </a:cubicBezTo>
                <a:cubicBezTo>
                  <a:pt x="142" y="74"/>
                  <a:pt x="139" y="79"/>
                  <a:pt x="136" y="85"/>
                </a:cubicBezTo>
                <a:cubicBezTo>
                  <a:pt x="131" y="94"/>
                  <a:pt x="127" y="102"/>
                  <a:pt x="111" y="103"/>
                </a:cubicBezTo>
                <a:cubicBezTo>
                  <a:pt x="104" y="104"/>
                  <a:pt x="98" y="103"/>
                  <a:pt x="96" y="100"/>
                </a:cubicBezTo>
                <a:cubicBezTo>
                  <a:pt x="94" y="98"/>
                  <a:pt x="94" y="96"/>
                  <a:pt x="95" y="95"/>
                </a:cubicBezTo>
                <a:lnTo>
                  <a:pt x="122" y="30"/>
                </a:lnTo>
                <a:close/>
                <a:moveTo>
                  <a:pt x="52" y="170"/>
                </a:moveTo>
                <a:cubicBezTo>
                  <a:pt x="50" y="175"/>
                  <a:pt x="47" y="180"/>
                  <a:pt x="46" y="186"/>
                </a:cubicBezTo>
                <a:cubicBezTo>
                  <a:pt x="46" y="186"/>
                  <a:pt x="46" y="186"/>
                  <a:pt x="46" y="186"/>
                </a:cubicBezTo>
                <a:cubicBezTo>
                  <a:pt x="45" y="186"/>
                  <a:pt x="45" y="186"/>
                  <a:pt x="45" y="186"/>
                </a:cubicBezTo>
                <a:cubicBezTo>
                  <a:pt x="39" y="183"/>
                  <a:pt x="28" y="176"/>
                  <a:pt x="26" y="171"/>
                </a:cubicBezTo>
                <a:cubicBezTo>
                  <a:pt x="26" y="171"/>
                  <a:pt x="26" y="171"/>
                  <a:pt x="26" y="171"/>
                </a:cubicBezTo>
                <a:cubicBezTo>
                  <a:pt x="25" y="169"/>
                  <a:pt x="28" y="161"/>
                  <a:pt x="31" y="156"/>
                </a:cubicBezTo>
                <a:cubicBezTo>
                  <a:pt x="32" y="155"/>
                  <a:pt x="32" y="155"/>
                  <a:pt x="32" y="155"/>
                </a:cubicBezTo>
                <a:cubicBezTo>
                  <a:pt x="32" y="155"/>
                  <a:pt x="32" y="155"/>
                  <a:pt x="32" y="155"/>
                </a:cubicBezTo>
                <a:cubicBezTo>
                  <a:pt x="52" y="170"/>
                  <a:pt x="52" y="170"/>
                  <a:pt x="52" y="170"/>
                </a:cubicBezTo>
                <a:close/>
                <a:moveTo>
                  <a:pt x="73" y="206"/>
                </a:moveTo>
                <a:cubicBezTo>
                  <a:pt x="73" y="206"/>
                  <a:pt x="73" y="206"/>
                  <a:pt x="73" y="206"/>
                </a:cubicBezTo>
                <a:cubicBezTo>
                  <a:pt x="73" y="206"/>
                  <a:pt x="72" y="206"/>
                  <a:pt x="72" y="206"/>
                </a:cubicBezTo>
                <a:cubicBezTo>
                  <a:pt x="71" y="206"/>
                  <a:pt x="68" y="206"/>
                  <a:pt x="65" y="205"/>
                </a:cubicBezTo>
                <a:cubicBezTo>
                  <a:pt x="60" y="203"/>
                  <a:pt x="57" y="200"/>
                  <a:pt x="57" y="198"/>
                </a:cubicBezTo>
                <a:cubicBezTo>
                  <a:pt x="57" y="197"/>
                  <a:pt x="57" y="196"/>
                  <a:pt x="57" y="195"/>
                </a:cubicBezTo>
                <a:cubicBezTo>
                  <a:pt x="57" y="195"/>
                  <a:pt x="57" y="194"/>
                  <a:pt x="57" y="194"/>
                </a:cubicBezTo>
                <a:cubicBezTo>
                  <a:pt x="58" y="188"/>
                  <a:pt x="62" y="179"/>
                  <a:pt x="65" y="173"/>
                </a:cubicBezTo>
                <a:cubicBezTo>
                  <a:pt x="65" y="173"/>
                  <a:pt x="65" y="173"/>
                  <a:pt x="65" y="173"/>
                </a:cubicBezTo>
                <a:cubicBezTo>
                  <a:pt x="66" y="173"/>
                  <a:pt x="67" y="172"/>
                  <a:pt x="67" y="172"/>
                </a:cubicBezTo>
                <a:cubicBezTo>
                  <a:pt x="67" y="171"/>
                  <a:pt x="68" y="170"/>
                  <a:pt x="68" y="169"/>
                </a:cubicBezTo>
                <a:cubicBezTo>
                  <a:pt x="68" y="169"/>
                  <a:pt x="68" y="169"/>
                  <a:pt x="68" y="169"/>
                </a:cubicBezTo>
                <a:cubicBezTo>
                  <a:pt x="70" y="166"/>
                  <a:pt x="71" y="165"/>
                  <a:pt x="72" y="164"/>
                </a:cubicBezTo>
                <a:cubicBezTo>
                  <a:pt x="76" y="163"/>
                  <a:pt x="84" y="169"/>
                  <a:pt x="85" y="171"/>
                </a:cubicBezTo>
                <a:cubicBezTo>
                  <a:pt x="85" y="172"/>
                  <a:pt x="85" y="172"/>
                  <a:pt x="85" y="172"/>
                </a:cubicBezTo>
                <a:cubicBezTo>
                  <a:pt x="86" y="172"/>
                  <a:pt x="86" y="173"/>
                  <a:pt x="85" y="175"/>
                </a:cubicBezTo>
                <a:cubicBezTo>
                  <a:pt x="85" y="175"/>
                  <a:pt x="85" y="175"/>
                  <a:pt x="85" y="175"/>
                </a:cubicBezTo>
                <a:lnTo>
                  <a:pt x="73" y="206"/>
                </a:lnTo>
                <a:close/>
                <a:moveTo>
                  <a:pt x="110" y="197"/>
                </a:moveTo>
                <a:cubicBezTo>
                  <a:pt x="110" y="197"/>
                  <a:pt x="110" y="197"/>
                  <a:pt x="110" y="197"/>
                </a:cubicBezTo>
                <a:cubicBezTo>
                  <a:pt x="102" y="221"/>
                  <a:pt x="102" y="221"/>
                  <a:pt x="102" y="221"/>
                </a:cubicBezTo>
                <a:cubicBezTo>
                  <a:pt x="102" y="221"/>
                  <a:pt x="102" y="221"/>
                  <a:pt x="102" y="221"/>
                </a:cubicBezTo>
                <a:cubicBezTo>
                  <a:pt x="99" y="221"/>
                  <a:pt x="94" y="220"/>
                  <a:pt x="90" y="217"/>
                </a:cubicBezTo>
                <a:cubicBezTo>
                  <a:pt x="87" y="215"/>
                  <a:pt x="86" y="214"/>
                  <a:pt x="85" y="212"/>
                </a:cubicBezTo>
                <a:cubicBezTo>
                  <a:pt x="85" y="212"/>
                  <a:pt x="85" y="212"/>
                  <a:pt x="85" y="212"/>
                </a:cubicBezTo>
                <a:cubicBezTo>
                  <a:pt x="97" y="181"/>
                  <a:pt x="97" y="181"/>
                  <a:pt x="97" y="181"/>
                </a:cubicBezTo>
                <a:cubicBezTo>
                  <a:pt x="97" y="181"/>
                  <a:pt x="97" y="181"/>
                  <a:pt x="97" y="181"/>
                </a:cubicBezTo>
                <a:cubicBezTo>
                  <a:pt x="103" y="182"/>
                  <a:pt x="109" y="185"/>
                  <a:pt x="110" y="187"/>
                </a:cubicBezTo>
                <a:cubicBezTo>
                  <a:pt x="110" y="187"/>
                  <a:pt x="110" y="187"/>
                  <a:pt x="110" y="187"/>
                </a:cubicBezTo>
                <a:cubicBezTo>
                  <a:pt x="110" y="188"/>
                  <a:pt x="111" y="191"/>
                  <a:pt x="110" y="197"/>
                </a:cubicBezTo>
                <a:close/>
                <a:moveTo>
                  <a:pt x="138" y="218"/>
                </a:moveTo>
                <a:cubicBezTo>
                  <a:pt x="138" y="218"/>
                  <a:pt x="138" y="218"/>
                  <a:pt x="138" y="218"/>
                </a:cubicBezTo>
                <a:cubicBezTo>
                  <a:pt x="138" y="218"/>
                  <a:pt x="138" y="218"/>
                  <a:pt x="138" y="218"/>
                </a:cubicBezTo>
                <a:cubicBezTo>
                  <a:pt x="138" y="219"/>
                  <a:pt x="137" y="219"/>
                  <a:pt x="137" y="219"/>
                </a:cubicBezTo>
                <a:cubicBezTo>
                  <a:pt x="136" y="221"/>
                  <a:pt x="136" y="223"/>
                  <a:pt x="136" y="225"/>
                </a:cubicBezTo>
                <a:cubicBezTo>
                  <a:pt x="136" y="225"/>
                  <a:pt x="136" y="225"/>
                  <a:pt x="136" y="225"/>
                </a:cubicBezTo>
                <a:cubicBezTo>
                  <a:pt x="136" y="225"/>
                  <a:pt x="136" y="225"/>
                  <a:pt x="136" y="225"/>
                </a:cubicBezTo>
                <a:cubicBezTo>
                  <a:pt x="135" y="227"/>
                  <a:pt x="134" y="229"/>
                  <a:pt x="132" y="230"/>
                </a:cubicBezTo>
                <a:cubicBezTo>
                  <a:pt x="131" y="231"/>
                  <a:pt x="130" y="231"/>
                  <a:pt x="128" y="231"/>
                </a:cubicBezTo>
                <a:cubicBezTo>
                  <a:pt x="124" y="231"/>
                  <a:pt x="118" y="228"/>
                  <a:pt x="115" y="225"/>
                </a:cubicBezTo>
                <a:cubicBezTo>
                  <a:pt x="115" y="225"/>
                  <a:pt x="115" y="225"/>
                  <a:pt x="115" y="225"/>
                </a:cubicBezTo>
                <a:cubicBezTo>
                  <a:pt x="115" y="225"/>
                  <a:pt x="115" y="225"/>
                  <a:pt x="115" y="225"/>
                </a:cubicBezTo>
                <a:cubicBezTo>
                  <a:pt x="122" y="201"/>
                  <a:pt x="122" y="201"/>
                  <a:pt x="122" y="201"/>
                </a:cubicBezTo>
                <a:cubicBezTo>
                  <a:pt x="122" y="201"/>
                  <a:pt x="122" y="201"/>
                  <a:pt x="122" y="201"/>
                </a:cubicBezTo>
                <a:cubicBezTo>
                  <a:pt x="124" y="200"/>
                  <a:pt x="127" y="199"/>
                  <a:pt x="129" y="200"/>
                </a:cubicBezTo>
                <a:cubicBezTo>
                  <a:pt x="132" y="200"/>
                  <a:pt x="137" y="201"/>
                  <a:pt x="138" y="205"/>
                </a:cubicBezTo>
                <a:cubicBezTo>
                  <a:pt x="139" y="208"/>
                  <a:pt x="139" y="213"/>
                  <a:pt x="138" y="218"/>
                </a:cubicBezTo>
                <a:close/>
                <a:moveTo>
                  <a:pt x="131" y="187"/>
                </a:moveTo>
                <a:cubicBezTo>
                  <a:pt x="129" y="187"/>
                  <a:pt x="126" y="187"/>
                  <a:pt x="124" y="187"/>
                </a:cubicBezTo>
                <a:cubicBezTo>
                  <a:pt x="123" y="187"/>
                  <a:pt x="123" y="187"/>
                  <a:pt x="123" y="187"/>
                </a:cubicBezTo>
                <a:cubicBezTo>
                  <a:pt x="123" y="187"/>
                  <a:pt x="123" y="187"/>
                  <a:pt x="123" y="187"/>
                </a:cubicBezTo>
                <a:cubicBezTo>
                  <a:pt x="123" y="185"/>
                  <a:pt x="123" y="184"/>
                  <a:pt x="123" y="184"/>
                </a:cubicBezTo>
                <a:cubicBezTo>
                  <a:pt x="121" y="175"/>
                  <a:pt x="109" y="169"/>
                  <a:pt x="98" y="168"/>
                </a:cubicBezTo>
                <a:cubicBezTo>
                  <a:pt x="98" y="168"/>
                  <a:pt x="98" y="168"/>
                  <a:pt x="98" y="168"/>
                </a:cubicBezTo>
                <a:cubicBezTo>
                  <a:pt x="98" y="168"/>
                  <a:pt x="98" y="168"/>
                  <a:pt x="98" y="168"/>
                </a:cubicBezTo>
                <a:cubicBezTo>
                  <a:pt x="98" y="168"/>
                  <a:pt x="98" y="168"/>
                  <a:pt x="98" y="167"/>
                </a:cubicBezTo>
                <a:cubicBezTo>
                  <a:pt x="96" y="162"/>
                  <a:pt x="90" y="156"/>
                  <a:pt x="84" y="154"/>
                </a:cubicBezTo>
                <a:cubicBezTo>
                  <a:pt x="78" y="151"/>
                  <a:pt x="73" y="150"/>
                  <a:pt x="68" y="152"/>
                </a:cubicBezTo>
                <a:cubicBezTo>
                  <a:pt x="65" y="153"/>
                  <a:pt x="63" y="155"/>
                  <a:pt x="60" y="158"/>
                </a:cubicBezTo>
                <a:cubicBezTo>
                  <a:pt x="60" y="159"/>
                  <a:pt x="60" y="159"/>
                  <a:pt x="60" y="159"/>
                </a:cubicBezTo>
                <a:cubicBezTo>
                  <a:pt x="59" y="158"/>
                  <a:pt x="59" y="158"/>
                  <a:pt x="59" y="158"/>
                </a:cubicBezTo>
                <a:cubicBezTo>
                  <a:pt x="15" y="128"/>
                  <a:pt x="15" y="128"/>
                  <a:pt x="15" y="128"/>
                </a:cubicBezTo>
                <a:cubicBezTo>
                  <a:pt x="15" y="128"/>
                  <a:pt x="15" y="128"/>
                  <a:pt x="15" y="128"/>
                </a:cubicBezTo>
                <a:cubicBezTo>
                  <a:pt x="50" y="32"/>
                  <a:pt x="50" y="32"/>
                  <a:pt x="50" y="32"/>
                </a:cubicBezTo>
                <a:cubicBezTo>
                  <a:pt x="107" y="32"/>
                  <a:pt x="107" y="32"/>
                  <a:pt x="107" y="32"/>
                </a:cubicBezTo>
                <a:cubicBezTo>
                  <a:pt x="107" y="32"/>
                  <a:pt x="107" y="32"/>
                  <a:pt x="107" y="32"/>
                </a:cubicBezTo>
                <a:cubicBezTo>
                  <a:pt x="82" y="90"/>
                  <a:pt x="82" y="90"/>
                  <a:pt x="82" y="90"/>
                </a:cubicBezTo>
                <a:cubicBezTo>
                  <a:pt x="82" y="90"/>
                  <a:pt x="82" y="91"/>
                  <a:pt x="82" y="91"/>
                </a:cubicBezTo>
                <a:cubicBezTo>
                  <a:pt x="82" y="92"/>
                  <a:pt x="79" y="101"/>
                  <a:pt x="86" y="108"/>
                </a:cubicBezTo>
                <a:cubicBezTo>
                  <a:pt x="91" y="115"/>
                  <a:pt x="100" y="117"/>
                  <a:pt x="113" y="116"/>
                </a:cubicBezTo>
                <a:cubicBezTo>
                  <a:pt x="135" y="114"/>
                  <a:pt x="142" y="101"/>
                  <a:pt x="148" y="91"/>
                </a:cubicBezTo>
                <a:cubicBezTo>
                  <a:pt x="150" y="86"/>
                  <a:pt x="152" y="82"/>
                  <a:pt x="155" y="79"/>
                </a:cubicBezTo>
                <a:cubicBezTo>
                  <a:pt x="164" y="72"/>
                  <a:pt x="174" y="70"/>
                  <a:pt x="187" y="74"/>
                </a:cubicBezTo>
                <a:cubicBezTo>
                  <a:pt x="193" y="75"/>
                  <a:pt x="214" y="96"/>
                  <a:pt x="231" y="115"/>
                </a:cubicBezTo>
                <a:cubicBezTo>
                  <a:pt x="231" y="115"/>
                  <a:pt x="231" y="115"/>
                  <a:pt x="231" y="115"/>
                </a:cubicBezTo>
                <a:cubicBezTo>
                  <a:pt x="272" y="155"/>
                  <a:pt x="272" y="155"/>
                  <a:pt x="272" y="155"/>
                </a:cubicBezTo>
                <a:cubicBezTo>
                  <a:pt x="272" y="155"/>
                  <a:pt x="272" y="155"/>
                  <a:pt x="272" y="155"/>
                </a:cubicBezTo>
                <a:cubicBezTo>
                  <a:pt x="271" y="159"/>
                  <a:pt x="268" y="164"/>
                  <a:pt x="264" y="167"/>
                </a:cubicBezTo>
                <a:cubicBezTo>
                  <a:pt x="261" y="170"/>
                  <a:pt x="257" y="172"/>
                  <a:pt x="254" y="172"/>
                </a:cubicBezTo>
                <a:cubicBezTo>
                  <a:pt x="254" y="172"/>
                  <a:pt x="254" y="172"/>
                  <a:pt x="254" y="172"/>
                </a:cubicBezTo>
                <a:cubicBezTo>
                  <a:pt x="253" y="172"/>
                  <a:pt x="253" y="172"/>
                  <a:pt x="253" y="172"/>
                </a:cubicBezTo>
                <a:cubicBezTo>
                  <a:pt x="220" y="145"/>
                  <a:pt x="220" y="145"/>
                  <a:pt x="220" y="145"/>
                </a:cubicBezTo>
                <a:cubicBezTo>
                  <a:pt x="217" y="142"/>
                  <a:pt x="212" y="135"/>
                  <a:pt x="212" y="132"/>
                </a:cubicBezTo>
                <a:cubicBezTo>
                  <a:pt x="212" y="128"/>
                  <a:pt x="209" y="126"/>
                  <a:pt x="205" y="126"/>
                </a:cubicBezTo>
                <a:cubicBezTo>
                  <a:pt x="205" y="126"/>
                  <a:pt x="205" y="126"/>
                  <a:pt x="205" y="126"/>
                </a:cubicBezTo>
                <a:cubicBezTo>
                  <a:pt x="201" y="126"/>
                  <a:pt x="199" y="129"/>
                  <a:pt x="199" y="133"/>
                </a:cubicBezTo>
                <a:cubicBezTo>
                  <a:pt x="200" y="142"/>
                  <a:pt x="209" y="152"/>
                  <a:pt x="211" y="154"/>
                </a:cubicBezTo>
                <a:cubicBezTo>
                  <a:pt x="211" y="155"/>
                  <a:pt x="211" y="155"/>
                  <a:pt x="212" y="155"/>
                </a:cubicBezTo>
                <a:cubicBezTo>
                  <a:pt x="245" y="182"/>
                  <a:pt x="245" y="182"/>
                  <a:pt x="245" y="182"/>
                </a:cubicBezTo>
                <a:cubicBezTo>
                  <a:pt x="245" y="182"/>
                  <a:pt x="245" y="183"/>
                  <a:pt x="246" y="183"/>
                </a:cubicBezTo>
                <a:cubicBezTo>
                  <a:pt x="246" y="183"/>
                  <a:pt x="246" y="183"/>
                  <a:pt x="246" y="183"/>
                </a:cubicBezTo>
                <a:cubicBezTo>
                  <a:pt x="246" y="183"/>
                  <a:pt x="246" y="183"/>
                  <a:pt x="246" y="183"/>
                </a:cubicBezTo>
                <a:cubicBezTo>
                  <a:pt x="245" y="186"/>
                  <a:pt x="243" y="189"/>
                  <a:pt x="240" y="192"/>
                </a:cubicBezTo>
                <a:cubicBezTo>
                  <a:pt x="236" y="195"/>
                  <a:pt x="232" y="197"/>
                  <a:pt x="228" y="197"/>
                </a:cubicBezTo>
                <a:cubicBezTo>
                  <a:pt x="228" y="197"/>
                  <a:pt x="228" y="197"/>
                  <a:pt x="228" y="197"/>
                </a:cubicBezTo>
                <a:cubicBezTo>
                  <a:pt x="228" y="197"/>
                  <a:pt x="228" y="197"/>
                  <a:pt x="228" y="197"/>
                </a:cubicBezTo>
                <a:cubicBezTo>
                  <a:pt x="193" y="168"/>
                  <a:pt x="193" y="168"/>
                  <a:pt x="193" y="168"/>
                </a:cubicBezTo>
                <a:cubicBezTo>
                  <a:pt x="192" y="167"/>
                  <a:pt x="190" y="167"/>
                  <a:pt x="188" y="167"/>
                </a:cubicBezTo>
                <a:cubicBezTo>
                  <a:pt x="186" y="167"/>
                  <a:pt x="185" y="168"/>
                  <a:pt x="184" y="169"/>
                </a:cubicBezTo>
                <a:cubicBezTo>
                  <a:pt x="183" y="171"/>
                  <a:pt x="182" y="172"/>
                  <a:pt x="182" y="174"/>
                </a:cubicBezTo>
                <a:cubicBezTo>
                  <a:pt x="182" y="176"/>
                  <a:pt x="183" y="177"/>
                  <a:pt x="185" y="178"/>
                </a:cubicBezTo>
                <a:cubicBezTo>
                  <a:pt x="219" y="206"/>
                  <a:pt x="219" y="206"/>
                  <a:pt x="219" y="206"/>
                </a:cubicBezTo>
                <a:cubicBezTo>
                  <a:pt x="219" y="206"/>
                  <a:pt x="219" y="206"/>
                  <a:pt x="219" y="206"/>
                </a:cubicBezTo>
                <a:cubicBezTo>
                  <a:pt x="218" y="210"/>
                  <a:pt x="216" y="213"/>
                  <a:pt x="213" y="215"/>
                </a:cubicBezTo>
                <a:cubicBezTo>
                  <a:pt x="211" y="218"/>
                  <a:pt x="207" y="219"/>
                  <a:pt x="204" y="219"/>
                </a:cubicBezTo>
                <a:cubicBezTo>
                  <a:pt x="204" y="219"/>
                  <a:pt x="204" y="219"/>
                  <a:pt x="204" y="219"/>
                </a:cubicBezTo>
                <a:cubicBezTo>
                  <a:pt x="204" y="219"/>
                  <a:pt x="204" y="219"/>
                  <a:pt x="204" y="219"/>
                </a:cubicBezTo>
                <a:cubicBezTo>
                  <a:pt x="171" y="194"/>
                  <a:pt x="171" y="194"/>
                  <a:pt x="171" y="194"/>
                </a:cubicBezTo>
                <a:cubicBezTo>
                  <a:pt x="170" y="193"/>
                  <a:pt x="168" y="193"/>
                  <a:pt x="166" y="193"/>
                </a:cubicBezTo>
                <a:cubicBezTo>
                  <a:pt x="165" y="193"/>
                  <a:pt x="163" y="194"/>
                  <a:pt x="162" y="196"/>
                </a:cubicBezTo>
                <a:cubicBezTo>
                  <a:pt x="161" y="197"/>
                  <a:pt x="161" y="199"/>
                  <a:pt x="161" y="201"/>
                </a:cubicBezTo>
                <a:cubicBezTo>
                  <a:pt x="161" y="202"/>
                  <a:pt x="162" y="204"/>
                  <a:pt x="163" y="205"/>
                </a:cubicBezTo>
                <a:cubicBezTo>
                  <a:pt x="188" y="224"/>
                  <a:pt x="188" y="224"/>
                  <a:pt x="188" y="224"/>
                </a:cubicBezTo>
                <a:cubicBezTo>
                  <a:pt x="188" y="224"/>
                  <a:pt x="188" y="224"/>
                  <a:pt x="188" y="224"/>
                </a:cubicBezTo>
                <a:cubicBezTo>
                  <a:pt x="187" y="224"/>
                  <a:pt x="186" y="225"/>
                  <a:pt x="185" y="225"/>
                </a:cubicBezTo>
                <a:cubicBezTo>
                  <a:pt x="182" y="225"/>
                  <a:pt x="179" y="226"/>
                  <a:pt x="176" y="226"/>
                </a:cubicBezTo>
                <a:cubicBezTo>
                  <a:pt x="168" y="226"/>
                  <a:pt x="158" y="223"/>
                  <a:pt x="151" y="220"/>
                </a:cubicBezTo>
                <a:cubicBezTo>
                  <a:pt x="151" y="220"/>
                  <a:pt x="151" y="220"/>
                  <a:pt x="151" y="220"/>
                </a:cubicBezTo>
                <a:cubicBezTo>
                  <a:pt x="151" y="220"/>
                  <a:pt x="151" y="220"/>
                  <a:pt x="151" y="220"/>
                </a:cubicBezTo>
                <a:cubicBezTo>
                  <a:pt x="153" y="212"/>
                  <a:pt x="152" y="205"/>
                  <a:pt x="151" y="201"/>
                </a:cubicBezTo>
                <a:cubicBezTo>
                  <a:pt x="149" y="193"/>
                  <a:pt x="141" y="188"/>
                  <a:pt x="131" y="187"/>
                </a:cubicBezTo>
                <a:close/>
              </a:path>
            </a:pathLst>
          </a:custGeom>
          <a:solidFill>
            <a:schemeClr val="bg1"/>
          </a:solidFill>
          <a:ln w="6350">
            <a:noFill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rtl="0"/>
            <a:endParaRPr lang="en-GB">
              <a:solidFill>
                <a:srgbClr val="373737"/>
              </a:solidFill>
            </a:endParaRPr>
          </a:p>
        </p:txBody>
      </p:sp>
      <p:grpSp>
        <p:nvGrpSpPr>
          <p:cNvPr id="11" name="Gruppieren 10">
            <a:extLst>
              <a:ext uri="{FF2B5EF4-FFF2-40B4-BE49-F238E27FC236}">
                <a16:creationId xmlns:a16="http://schemas.microsoft.com/office/drawing/2014/main" id="{270AB1CB-EDC7-2A39-59F7-9B06A04673F4}"/>
              </a:ext>
            </a:extLst>
          </p:cNvPr>
          <p:cNvGrpSpPr/>
          <p:nvPr userDrawn="1"/>
        </p:nvGrpSpPr>
        <p:grpSpPr>
          <a:xfrm>
            <a:off x="8434408" y="1707004"/>
            <a:ext cx="216000" cy="242847"/>
            <a:chOff x="9863618" y="1707004"/>
            <a:chExt cx="216000" cy="242847"/>
          </a:xfrm>
        </p:grpSpPr>
        <p:sp>
          <p:nvSpPr>
            <p:cNvPr id="220" name="Freeform 14">
              <a:extLst>
                <a:ext uri="{FF2B5EF4-FFF2-40B4-BE49-F238E27FC236}">
                  <a16:creationId xmlns:a16="http://schemas.microsoft.com/office/drawing/2014/main" id="{9C2921C1-75FA-89C3-B007-49C975BC729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863618" y="1707004"/>
              <a:ext cx="216000" cy="242847"/>
            </a:xfrm>
            <a:custGeom>
              <a:avLst/>
              <a:gdLst>
                <a:gd name="T0" fmla="*/ 79 w 86"/>
                <a:gd name="T1" fmla="*/ 41 h 96"/>
                <a:gd name="T2" fmla="*/ 59 w 86"/>
                <a:gd name="T3" fmla="*/ 18 h 96"/>
                <a:gd name="T4" fmla="*/ 27 w 86"/>
                <a:gd name="T5" fmla="*/ 18 h 96"/>
                <a:gd name="T6" fmla="*/ 7 w 86"/>
                <a:gd name="T7" fmla="*/ 41 h 96"/>
                <a:gd name="T8" fmla="*/ 7 w 86"/>
                <a:gd name="T9" fmla="*/ 55 h 96"/>
                <a:gd name="T10" fmla="*/ 15 w 86"/>
                <a:gd name="T11" fmla="*/ 80 h 96"/>
                <a:gd name="T12" fmla="*/ 43 w 86"/>
                <a:gd name="T13" fmla="*/ 96 h 96"/>
                <a:gd name="T14" fmla="*/ 71 w 86"/>
                <a:gd name="T15" fmla="*/ 80 h 96"/>
                <a:gd name="T16" fmla="*/ 79 w 86"/>
                <a:gd name="T17" fmla="*/ 55 h 96"/>
                <a:gd name="T18" fmla="*/ 71 w 86"/>
                <a:gd name="T19" fmla="*/ 20 h 96"/>
                <a:gd name="T20" fmla="*/ 75 w 86"/>
                <a:gd name="T21" fmla="*/ 39 h 96"/>
                <a:gd name="T22" fmla="*/ 63 w 86"/>
                <a:gd name="T23" fmla="*/ 38 h 96"/>
                <a:gd name="T24" fmla="*/ 71 w 86"/>
                <a:gd name="T25" fmla="*/ 20 h 96"/>
                <a:gd name="T26" fmla="*/ 43 w 86"/>
                <a:gd name="T27" fmla="*/ 67 h 96"/>
                <a:gd name="T28" fmla="*/ 27 w 86"/>
                <a:gd name="T29" fmla="*/ 56 h 96"/>
                <a:gd name="T30" fmla="*/ 27 w 86"/>
                <a:gd name="T31" fmla="*/ 40 h 96"/>
                <a:gd name="T32" fmla="*/ 43 w 86"/>
                <a:gd name="T33" fmla="*/ 29 h 96"/>
                <a:gd name="T34" fmla="*/ 59 w 86"/>
                <a:gd name="T35" fmla="*/ 40 h 96"/>
                <a:gd name="T36" fmla="*/ 59 w 86"/>
                <a:gd name="T37" fmla="*/ 56 h 96"/>
                <a:gd name="T38" fmla="*/ 58 w 86"/>
                <a:gd name="T39" fmla="*/ 62 h 96"/>
                <a:gd name="T40" fmla="*/ 47 w 86"/>
                <a:gd name="T41" fmla="*/ 69 h 96"/>
                <a:gd name="T42" fmla="*/ 58 w 86"/>
                <a:gd name="T43" fmla="*/ 62 h 96"/>
                <a:gd name="T44" fmla="*/ 30 w 86"/>
                <a:gd name="T45" fmla="*/ 73 h 96"/>
                <a:gd name="T46" fmla="*/ 32 w 86"/>
                <a:gd name="T47" fmla="*/ 64 h 96"/>
                <a:gd name="T48" fmla="*/ 23 w 86"/>
                <a:gd name="T49" fmla="*/ 53 h 96"/>
                <a:gd name="T50" fmla="*/ 23 w 86"/>
                <a:gd name="T51" fmla="*/ 43 h 96"/>
                <a:gd name="T52" fmla="*/ 23 w 86"/>
                <a:gd name="T53" fmla="*/ 53 h 96"/>
                <a:gd name="T54" fmla="*/ 30 w 86"/>
                <a:gd name="T55" fmla="*/ 23 h 96"/>
                <a:gd name="T56" fmla="*/ 32 w 86"/>
                <a:gd name="T57" fmla="*/ 32 h 96"/>
                <a:gd name="T58" fmla="*/ 47 w 86"/>
                <a:gd name="T59" fmla="*/ 27 h 96"/>
                <a:gd name="T60" fmla="*/ 58 w 86"/>
                <a:gd name="T61" fmla="*/ 34 h 96"/>
                <a:gd name="T62" fmla="*/ 47 w 86"/>
                <a:gd name="T63" fmla="*/ 27 h 96"/>
                <a:gd name="T64" fmla="*/ 68 w 86"/>
                <a:gd name="T65" fmla="*/ 48 h 96"/>
                <a:gd name="T66" fmla="*/ 63 w 86"/>
                <a:gd name="T67" fmla="*/ 48 h 96"/>
                <a:gd name="T68" fmla="*/ 43 w 86"/>
                <a:gd name="T69" fmla="*/ 4 h 96"/>
                <a:gd name="T70" fmla="*/ 43 w 86"/>
                <a:gd name="T71" fmla="*/ 25 h 96"/>
                <a:gd name="T72" fmla="*/ 43 w 86"/>
                <a:gd name="T73" fmla="*/ 4 h 96"/>
                <a:gd name="T74" fmla="*/ 7 w 86"/>
                <a:gd name="T75" fmla="*/ 23 h 96"/>
                <a:gd name="T76" fmla="*/ 23 w 86"/>
                <a:gd name="T77" fmla="*/ 38 h 96"/>
                <a:gd name="T78" fmla="*/ 11 w 86"/>
                <a:gd name="T79" fmla="*/ 39 h 96"/>
                <a:gd name="T80" fmla="*/ 11 w 86"/>
                <a:gd name="T81" fmla="*/ 57 h 96"/>
                <a:gd name="T82" fmla="*/ 23 w 86"/>
                <a:gd name="T83" fmla="*/ 58 h 96"/>
                <a:gd name="T84" fmla="*/ 7 w 86"/>
                <a:gd name="T85" fmla="*/ 73 h 96"/>
                <a:gd name="T86" fmla="*/ 31 w 86"/>
                <a:gd name="T87" fmla="*/ 77 h 96"/>
                <a:gd name="T88" fmla="*/ 55 w 86"/>
                <a:gd name="T89" fmla="*/ 77 h 96"/>
                <a:gd name="T90" fmla="*/ 79 w 86"/>
                <a:gd name="T91" fmla="*/ 73 h 96"/>
                <a:gd name="T92" fmla="*/ 63 w 86"/>
                <a:gd name="T93" fmla="*/ 58 h 96"/>
                <a:gd name="T94" fmla="*/ 75 w 86"/>
                <a:gd name="T95" fmla="*/ 57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86" h="96">
                  <a:moveTo>
                    <a:pt x="73" y="48"/>
                  </a:moveTo>
                  <a:cubicBezTo>
                    <a:pt x="75" y="46"/>
                    <a:pt x="77" y="43"/>
                    <a:pt x="79" y="41"/>
                  </a:cubicBezTo>
                  <a:cubicBezTo>
                    <a:pt x="84" y="33"/>
                    <a:pt x="86" y="25"/>
                    <a:pt x="83" y="21"/>
                  </a:cubicBezTo>
                  <a:cubicBezTo>
                    <a:pt x="79" y="15"/>
                    <a:pt x="70" y="15"/>
                    <a:pt x="59" y="18"/>
                  </a:cubicBezTo>
                  <a:cubicBezTo>
                    <a:pt x="55" y="7"/>
                    <a:pt x="49" y="0"/>
                    <a:pt x="43" y="0"/>
                  </a:cubicBezTo>
                  <a:cubicBezTo>
                    <a:pt x="37" y="0"/>
                    <a:pt x="31" y="7"/>
                    <a:pt x="27" y="18"/>
                  </a:cubicBezTo>
                  <a:cubicBezTo>
                    <a:pt x="16" y="15"/>
                    <a:pt x="7" y="15"/>
                    <a:pt x="3" y="21"/>
                  </a:cubicBezTo>
                  <a:cubicBezTo>
                    <a:pt x="0" y="25"/>
                    <a:pt x="2" y="33"/>
                    <a:pt x="7" y="41"/>
                  </a:cubicBezTo>
                  <a:cubicBezTo>
                    <a:pt x="9" y="43"/>
                    <a:pt x="11" y="46"/>
                    <a:pt x="13" y="48"/>
                  </a:cubicBezTo>
                  <a:cubicBezTo>
                    <a:pt x="11" y="50"/>
                    <a:pt x="9" y="53"/>
                    <a:pt x="7" y="55"/>
                  </a:cubicBezTo>
                  <a:cubicBezTo>
                    <a:pt x="2" y="63"/>
                    <a:pt x="0" y="71"/>
                    <a:pt x="3" y="75"/>
                  </a:cubicBezTo>
                  <a:cubicBezTo>
                    <a:pt x="6" y="78"/>
                    <a:pt x="10" y="80"/>
                    <a:pt x="15" y="80"/>
                  </a:cubicBezTo>
                  <a:cubicBezTo>
                    <a:pt x="19" y="80"/>
                    <a:pt x="23" y="79"/>
                    <a:pt x="27" y="78"/>
                  </a:cubicBezTo>
                  <a:cubicBezTo>
                    <a:pt x="31" y="89"/>
                    <a:pt x="37" y="96"/>
                    <a:pt x="43" y="96"/>
                  </a:cubicBezTo>
                  <a:cubicBezTo>
                    <a:pt x="49" y="96"/>
                    <a:pt x="55" y="89"/>
                    <a:pt x="59" y="78"/>
                  </a:cubicBezTo>
                  <a:cubicBezTo>
                    <a:pt x="63" y="79"/>
                    <a:pt x="67" y="80"/>
                    <a:pt x="71" y="80"/>
                  </a:cubicBezTo>
                  <a:cubicBezTo>
                    <a:pt x="76" y="80"/>
                    <a:pt x="80" y="78"/>
                    <a:pt x="83" y="75"/>
                  </a:cubicBezTo>
                  <a:cubicBezTo>
                    <a:pt x="86" y="71"/>
                    <a:pt x="84" y="63"/>
                    <a:pt x="79" y="55"/>
                  </a:cubicBezTo>
                  <a:cubicBezTo>
                    <a:pt x="77" y="53"/>
                    <a:pt x="75" y="50"/>
                    <a:pt x="73" y="48"/>
                  </a:cubicBezTo>
                  <a:close/>
                  <a:moveTo>
                    <a:pt x="71" y="20"/>
                  </a:moveTo>
                  <a:cubicBezTo>
                    <a:pt x="75" y="20"/>
                    <a:pt x="78" y="21"/>
                    <a:pt x="79" y="23"/>
                  </a:cubicBezTo>
                  <a:cubicBezTo>
                    <a:pt x="81" y="26"/>
                    <a:pt x="80" y="32"/>
                    <a:pt x="75" y="39"/>
                  </a:cubicBezTo>
                  <a:cubicBezTo>
                    <a:pt x="74" y="41"/>
                    <a:pt x="72" y="43"/>
                    <a:pt x="71" y="45"/>
                  </a:cubicBezTo>
                  <a:cubicBezTo>
                    <a:pt x="68" y="43"/>
                    <a:pt x="65" y="40"/>
                    <a:pt x="63" y="38"/>
                  </a:cubicBezTo>
                  <a:cubicBezTo>
                    <a:pt x="62" y="32"/>
                    <a:pt x="61" y="27"/>
                    <a:pt x="60" y="22"/>
                  </a:cubicBezTo>
                  <a:cubicBezTo>
                    <a:pt x="64" y="21"/>
                    <a:pt x="68" y="20"/>
                    <a:pt x="71" y="20"/>
                  </a:cubicBezTo>
                  <a:close/>
                  <a:moveTo>
                    <a:pt x="52" y="61"/>
                  </a:moveTo>
                  <a:cubicBezTo>
                    <a:pt x="49" y="63"/>
                    <a:pt x="46" y="65"/>
                    <a:pt x="43" y="67"/>
                  </a:cubicBezTo>
                  <a:cubicBezTo>
                    <a:pt x="40" y="65"/>
                    <a:pt x="37" y="63"/>
                    <a:pt x="34" y="61"/>
                  </a:cubicBezTo>
                  <a:cubicBezTo>
                    <a:pt x="32" y="60"/>
                    <a:pt x="29" y="58"/>
                    <a:pt x="27" y="56"/>
                  </a:cubicBezTo>
                  <a:cubicBezTo>
                    <a:pt x="27" y="54"/>
                    <a:pt x="27" y="51"/>
                    <a:pt x="27" y="48"/>
                  </a:cubicBezTo>
                  <a:cubicBezTo>
                    <a:pt x="27" y="45"/>
                    <a:pt x="27" y="42"/>
                    <a:pt x="27" y="40"/>
                  </a:cubicBezTo>
                  <a:cubicBezTo>
                    <a:pt x="29" y="38"/>
                    <a:pt x="32" y="36"/>
                    <a:pt x="34" y="35"/>
                  </a:cubicBezTo>
                  <a:cubicBezTo>
                    <a:pt x="37" y="33"/>
                    <a:pt x="40" y="31"/>
                    <a:pt x="43" y="29"/>
                  </a:cubicBezTo>
                  <a:cubicBezTo>
                    <a:pt x="46" y="31"/>
                    <a:pt x="49" y="33"/>
                    <a:pt x="52" y="35"/>
                  </a:cubicBezTo>
                  <a:cubicBezTo>
                    <a:pt x="54" y="36"/>
                    <a:pt x="57" y="38"/>
                    <a:pt x="59" y="40"/>
                  </a:cubicBezTo>
                  <a:cubicBezTo>
                    <a:pt x="59" y="42"/>
                    <a:pt x="59" y="45"/>
                    <a:pt x="59" y="48"/>
                  </a:cubicBezTo>
                  <a:cubicBezTo>
                    <a:pt x="59" y="51"/>
                    <a:pt x="59" y="54"/>
                    <a:pt x="59" y="56"/>
                  </a:cubicBezTo>
                  <a:cubicBezTo>
                    <a:pt x="57" y="58"/>
                    <a:pt x="54" y="60"/>
                    <a:pt x="52" y="61"/>
                  </a:cubicBezTo>
                  <a:close/>
                  <a:moveTo>
                    <a:pt x="58" y="62"/>
                  </a:moveTo>
                  <a:cubicBezTo>
                    <a:pt x="58" y="66"/>
                    <a:pt x="57" y="69"/>
                    <a:pt x="56" y="73"/>
                  </a:cubicBezTo>
                  <a:cubicBezTo>
                    <a:pt x="53" y="72"/>
                    <a:pt x="50" y="71"/>
                    <a:pt x="47" y="69"/>
                  </a:cubicBezTo>
                  <a:cubicBezTo>
                    <a:pt x="50" y="68"/>
                    <a:pt x="52" y="66"/>
                    <a:pt x="54" y="64"/>
                  </a:cubicBezTo>
                  <a:cubicBezTo>
                    <a:pt x="56" y="64"/>
                    <a:pt x="57" y="63"/>
                    <a:pt x="58" y="62"/>
                  </a:cubicBezTo>
                  <a:close/>
                  <a:moveTo>
                    <a:pt x="39" y="69"/>
                  </a:moveTo>
                  <a:cubicBezTo>
                    <a:pt x="36" y="71"/>
                    <a:pt x="33" y="72"/>
                    <a:pt x="30" y="73"/>
                  </a:cubicBezTo>
                  <a:cubicBezTo>
                    <a:pt x="29" y="69"/>
                    <a:pt x="28" y="66"/>
                    <a:pt x="28" y="62"/>
                  </a:cubicBezTo>
                  <a:cubicBezTo>
                    <a:pt x="29" y="63"/>
                    <a:pt x="30" y="64"/>
                    <a:pt x="32" y="64"/>
                  </a:cubicBezTo>
                  <a:cubicBezTo>
                    <a:pt x="34" y="66"/>
                    <a:pt x="36" y="68"/>
                    <a:pt x="39" y="69"/>
                  </a:cubicBezTo>
                  <a:close/>
                  <a:moveTo>
                    <a:pt x="23" y="53"/>
                  </a:moveTo>
                  <a:cubicBezTo>
                    <a:pt x="21" y="51"/>
                    <a:pt x="20" y="50"/>
                    <a:pt x="18" y="48"/>
                  </a:cubicBezTo>
                  <a:cubicBezTo>
                    <a:pt x="20" y="46"/>
                    <a:pt x="21" y="45"/>
                    <a:pt x="23" y="43"/>
                  </a:cubicBezTo>
                  <a:cubicBezTo>
                    <a:pt x="23" y="45"/>
                    <a:pt x="23" y="46"/>
                    <a:pt x="23" y="48"/>
                  </a:cubicBezTo>
                  <a:cubicBezTo>
                    <a:pt x="23" y="50"/>
                    <a:pt x="23" y="51"/>
                    <a:pt x="23" y="53"/>
                  </a:cubicBezTo>
                  <a:close/>
                  <a:moveTo>
                    <a:pt x="28" y="34"/>
                  </a:moveTo>
                  <a:cubicBezTo>
                    <a:pt x="28" y="30"/>
                    <a:pt x="29" y="27"/>
                    <a:pt x="30" y="23"/>
                  </a:cubicBezTo>
                  <a:cubicBezTo>
                    <a:pt x="33" y="24"/>
                    <a:pt x="36" y="25"/>
                    <a:pt x="39" y="27"/>
                  </a:cubicBezTo>
                  <a:cubicBezTo>
                    <a:pt x="36" y="28"/>
                    <a:pt x="34" y="30"/>
                    <a:pt x="32" y="32"/>
                  </a:cubicBezTo>
                  <a:cubicBezTo>
                    <a:pt x="30" y="32"/>
                    <a:pt x="29" y="33"/>
                    <a:pt x="28" y="34"/>
                  </a:cubicBezTo>
                  <a:close/>
                  <a:moveTo>
                    <a:pt x="47" y="27"/>
                  </a:moveTo>
                  <a:cubicBezTo>
                    <a:pt x="50" y="25"/>
                    <a:pt x="53" y="24"/>
                    <a:pt x="56" y="23"/>
                  </a:cubicBezTo>
                  <a:cubicBezTo>
                    <a:pt x="57" y="27"/>
                    <a:pt x="58" y="30"/>
                    <a:pt x="58" y="34"/>
                  </a:cubicBezTo>
                  <a:cubicBezTo>
                    <a:pt x="57" y="33"/>
                    <a:pt x="56" y="32"/>
                    <a:pt x="54" y="32"/>
                  </a:cubicBezTo>
                  <a:cubicBezTo>
                    <a:pt x="52" y="30"/>
                    <a:pt x="50" y="28"/>
                    <a:pt x="47" y="27"/>
                  </a:cubicBezTo>
                  <a:close/>
                  <a:moveTo>
                    <a:pt x="63" y="43"/>
                  </a:moveTo>
                  <a:cubicBezTo>
                    <a:pt x="65" y="45"/>
                    <a:pt x="66" y="46"/>
                    <a:pt x="68" y="48"/>
                  </a:cubicBezTo>
                  <a:cubicBezTo>
                    <a:pt x="66" y="50"/>
                    <a:pt x="65" y="51"/>
                    <a:pt x="63" y="53"/>
                  </a:cubicBezTo>
                  <a:cubicBezTo>
                    <a:pt x="63" y="51"/>
                    <a:pt x="63" y="50"/>
                    <a:pt x="63" y="48"/>
                  </a:cubicBezTo>
                  <a:cubicBezTo>
                    <a:pt x="63" y="46"/>
                    <a:pt x="63" y="45"/>
                    <a:pt x="63" y="43"/>
                  </a:cubicBezTo>
                  <a:close/>
                  <a:moveTo>
                    <a:pt x="43" y="4"/>
                  </a:moveTo>
                  <a:cubicBezTo>
                    <a:pt x="47" y="4"/>
                    <a:pt x="52" y="10"/>
                    <a:pt x="55" y="19"/>
                  </a:cubicBezTo>
                  <a:cubicBezTo>
                    <a:pt x="51" y="21"/>
                    <a:pt x="47" y="22"/>
                    <a:pt x="43" y="25"/>
                  </a:cubicBezTo>
                  <a:cubicBezTo>
                    <a:pt x="39" y="22"/>
                    <a:pt x="35" y="21"/>
                    <a:pt x="31" y="19"/>
                  </a:cubicBezTo>
                  <a:cubicBezTo>
                    <a:pt x="34" y="10"/>
                    <a:pt x="39" y="4"/>
                    <a:pt x="43" y="4"/>
                  </a:cubicBezTo>
                  <a:close/>
                  <a:moveTo>
                    <a:pt x="11" y="39"/>
                  </a:moveTo>
                  <a:cubicBezTo>
                    <a:pt x="6" y="32"/>
                    <a:pt x="5" y="26"/>
                    <a:pt x="7" y="23"/>
                  </a:cubicBezTo>
                  <a:cubicBezTo>
                    <a:pt x="9" y="20"/>
                    <a:pt x="16" y="19"/>
                    <a:pt x="26" y="22"/>
                  </a:cubicBezTo>
                  <a:cubicBezTo>
                    <a:pt x="25" y="27"/>
                    <a:pt x="24" y="32"/>
                    <a:pt x="23" y="38"/>
                  </a:cubicBezTo>
                  <a:cubicBezTo>
                    <a:pt x="21" y="40"/>
                    <a:pt x="18" y="43"/>
                    <a:pt x="15" y="45"/>
                  </a:cubicBezTo>
                  <a:cubicBezTo>
                    <a:pt x="14" y="43"/>
                    <a:pt x="12" y="41"/>
                    <a:pt x="11" y="39"/>
                  </a:cubicBezTo>
                  <a:close/>
                  <a:moveTo>
                    <a:pt x="7" y="73"/>
                  </a:moveTo>
                  <a:cubicBezTo>
                    <a:pt x="5" y="70"/>
                    <a:pt x="6" y="64"/>
                    <a:pt x="11" y="57"/>
                  </a:cubicBezTo>
                  <a:cubicBezTo>
                    <a:pt x="12" y="55"/>
                    <a:pt x="14" y="53"/>
                    <a:pt x="15" y="51"/>
                  </a:cubicBezTo>
                  <a:cubicBezTo>
                    <a:pt x="18" y="53"/>
                    <a:pt x="21" y="56"/>
                    <a:pt x="23" y="58"/>
                  </a:cubicBezTo>
                  <a:cubicBezTo>
                    <a:pt x="24" y="64"/>
                    <a:pt x="25" y="69"/>
                    <a:pt x="26" y="74"/>
                  </a:cubicBezTo>
                  <a:cubicBezTo>
                    <a:pt x="16" y="77"/>
                    <a:pt x="9" y="76"/>
                    <a:pt x="7" y="73"/>
                  </a:cubicBezTo>
                  <a:close/>
                  <a:moveTo>
                    <a:pt x="43" y="92"/>
                  </a:moveTo>
                  <a:cubicBezTo>
                    <a:pt x="39" y="92"/>
                    <a:pt x="34" y="86"/>
                    <a:pt x="31" y="77"/>
                  </a:cubicBezTo>
                  <a:cubicBezTo>
                    <a:pt x="35" y="75"/>
                    <a:pt x="39" y="74"/>
                    <a:pt x="43" y="71"/>
                  </a:cubicBezTo>
                  <a:cubicBezTo>
                    <a:pt x="47" y="74"/>
                    <a:pt x="51" y="75"/>
                    <a:pt x="55" y="77"/>
                  </a:cubicBezTo>
                  <a:cubicBezTo>
                    <a:pt x="52" y="86"/>
                    <a:pt x="47" y="92"/>
                    <a:pt x="43" y="92"/>
                  </a:cubicBezTo>
                  <a:close/>
                  <a:moveTo>
                    <a:pt x="79" y="73"/>
                  </a:moveTo>
                  <a:cubicBezTo>
                    <a:pt x="77" y="76"/>
                    <a:pt x="70" y="77"/>
                    <a:pt x="60" y="74"/>
                  </a:cubicBezTo>
                  <a:cubicBezTo>
                    <a:pt x="61" y="69"/>
                    <a:pt x="62" y="64"/>
                    <a:pt x="63" y="58"/>
                  </a:cubicBezTo>
                  <a:cubicBezTo>
                    <a:pt x="65" y="56"/>
                    <a:pt x="68" y="53"/>
                    <a:pt x="71" y="51"/>
                  </a:cubicBezTo>
                  <a:cubicBezTo>
                    <a:pt x="72" y="53"/>
                    <a:pt x="74" y="55"/>
                    <a:pt x="75" y="57"/>
                  </a:cubicBezTo>
                  <a:cubicBezTo>
                    <a:pt x="80" y="64"/>
                    <a:pt x="81" y="70"/>
                    <a:pt x="79" y="73"/>
                  </a:cubicBezTo>
                  <a:close/>
                </a:path>
              </a:pathLst>
            </a:custGeom>
            <a:solidFill>
              <a:schemeClr val="bg1"/>
            </a:solidFill>
            <a:ln w="317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rtl="0"/>
              <a:endParaRPr lang="en-GB" sz="900">
                <a:solidFill>
                  <a:srgbClr val="373737"/>
                </a:solidFill>
              </a:endParaRPr>
            </a:p>
          </p:txBody>
        </p:sp>
        <p:sp>
          <p:nvSpPr>
            <p:cNvPr id="221" name="Freeform 15">
              <a:extLst>
                <a:ext uri="{FF2B5EF4-FFF2-40B4-BE49-F238E27FC236}">
                  <a16:creationId xmlns:a16="http://schemas.microsoft.com/office/drawing/2014/main" id="{BA8FBC84-52F2-5A08-BE54-6473D8B6AD3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946508" y="1802929"/>
              <a:ext cx="50219" cy="50998"/>
            </a:xfrm>
            <a:custGeom>
              <a:avLst/>
              <a:gdLst>
                <a:gd name="T0" fmla="*/ 10 w 20"/>
                <a:gd name="T1" fmla="*/ 0 h 20"/>
                <a:gd name="T2" fmla="*/ 0 w 20"/>
                <a:gd name="T3" fmla="*/ 10 h 20"/>
                <a:gd name="T4" fmla="*/ 10 w 20"/>
                <a:gd name="T5" fmla="*/ 20 h 20"/>
                <a:gd name="T6" fmla="*/ 20 w 20"/>
                <a:gd name="T7" fmla="*/ 10 h 20"/>
                <a:gd name="T8" fmla="*/ 10 w 20"/>
                <a:gd name="T9" fmla="*/ 0 h 20"/>
                <a:gd name="T10" fmla="*/ 10 w 20"/>
                <a:gd name="T11" fmla="*/ 16 h 20"/>
                <a:gd name="T12" fmla="*/ 4 w 20"/>
                <a:gd name="T13" fmla="*/ 10 h 20"/>
                <a:gd name="T14" fmla="*/ 10 w 20"/>
                <a:gd name="T15" fmla="*/ 4 h 20"/>
                <a:gd name="T16" fmla="*/ 16 w 20"/>
                <a:gd name="T17" fmla="*/ 10 h 20"/>
                <a:gd name="T18" fmla="*/ 10 w 20"/>
                <a:gd name="T19" fmla="*/ 16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0" h="20">
                  <a:moveTo>
                    <a:pt x="10" y="0"/>
                  </a:moveTo>
                  <a:cubicBezTo>
                    <a:pt x="4" y="0"/>
                    <a:pt x="0" y="4"/>
                    <a:pt x="0" y="10"/>
                  </a:cubicBezTo>
                  <a:cubicBezTo>
                    <a:pt x="0" y="16"/>
                    <a:pt x="4" y="20"/>
                    <a:pt x="10" y="20"/>
                  </a:cubicBezTo>
                  <a:cubicBezTo>
                    <a:pt x="16" y="20"/>
                    <a:pt x="20" y="16"/>
                    <a:pt x="20" y="10"/>
                  </a:cubicBezTo>
                  <a:cubicBezTo>
                    <a:pt x="20" y="4"/>
                    <a:pt x="16" y="0"/>
                    <a:pt x="10" y="0"/>
                  </a:cubicBezTo>
                  <a:close/>
                  <a:moveTo>
                    <a:pt x="10" y="16"/>
                  </a:moveTo>
                  <a:cubicBezTo>
                    <a:pt x="7" y="16"/>
                    <a:pt x="4" y="13"/>
                    <a:pt x="4" y="10"/>
                  </a:cubicBezTo>
                  <a:cubicBezTo>
                    <a:pt x="4" y="7"/>
                    <a:pt x="7" y="4"/>
                    <a:pt x="10" y="4"/>
                  </a:cubicBezTo>
                  <a:cubicBezTo>
                    <a:pt x="13" y="4"/>
                    <a:pt x="16" y="7"/>
                    <a:pt x="16" y="10"/>
                  </a:cubicBezTo>
                  <a:cubicBezTo>
                    <a:pt x="16" y="13"/>
                    <a:pt x="13" y="16"/>
                    <a:pt x="10" y="16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rtl="0"/>
              <a:endParaRPr lang="en-GB" sz="900">
                <a:solidFill>
                  <a:srgbClr val="373737"/>
                </a:solidFill>
              </a:endParaRPr>
            </a:p>
          </p:txBody>
        </p:sp>
      </p:grpSp>
      <p:grpSp>
        <p:nvGrpSpPr>
          <p:cNvPr id="223" name="Group 54">
            <a:extLst>
              <a:ext uri="{FF2B5EF4-FFF2-40B4-BE49-F238E27FC236}">
                <a16:creationId xmlns:a16="http://schemas.microsoft.com/office/drawing/2014/main" id="{581C97CC-363D-8052-A037-B6DEC1FFFA64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6911523" y="1702431"/>
            <a:ext cx="282064" cy="252002"/>
            <a:chOff x="6718" y="681"/>
            <a:chExt cx="441" cy="394"/>
          </a:xfrm>
          <a:solidFill>
            <a:schemeClr val="bg1"/>
          </a:solidFill>
        </p:grpSpPr>
        <p:sp>
          <p:nvSpPr>
            <p:cNvPr id="225" name="Freeform 55">
              <a:extLst>
                <a:ext uri="{FF2B5EF4-FFF2-40B4-BE49-F238E27FC236}">
                  <a16:creationId xmlns:a16="http://schemas.microsoft.com/office/drawing/2014/main" id="{F52869DF-7F58-101E-31A3-D0411AA5BDB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883" y="681"/>
              <a:ext cx="110" cy="107"/>
            </a:xfrm>
            <a:custGeom>
              <a:avLst/>
              <a:gdLst>
                <a:gd name="T0" fmla="*/ 36 w 72"/>
                <a:gd name="T1" fmla="*/ 72 h 72"/>
                <a:gd name="T2" fmla="*/ 0 w 72"/>
                <a:gd name="T3" fmla="*/ 36 h 72"/>
                <a:gd name="T4" fmla="*/ 36 w 72"/>
                <a:gd name="T5" fmla="*/ 0 h 72"/>
                <a:gd name="T6" fmla="*/ 72 w 72"/>
                <a:gd name="T7" fmla="*/ 36 h 72"/>
                <a:gd name="T8" fmla="*/ 36 w 72"/>
                <a:gd name="T9" fmla="*/ 72 h 72"/>
                <a:gd name="T10" fmla="*/ 36 w 72"/>
                <a:gd name="T11" fmla="*/ 12 h 72"/>
                <a:gd name="T12" fmla="*/ 12 w 72"/>
                <a:gd name="T13" fmla="*/ 36 h 72"/>
                <a:gd name="T14" fmla="*/ 36 w 72"/>
                <a:gd name="T15" fmla="*/ 60 h 72"/>
                <a:gd name="T16" fmla="*/ 60 w 72"/>
                <a:gd name="T17" fmla="*/ 36 h 72"/>
                <a:gd name="T18" fmla="*/ 36 w 72"/>
                <a:gd name="T19" fmla="*/ 12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2" h="72">
                  <a:moveTo>
                    <a:pt x="36" y="72"/>
                  </a:moveTo>
                  <a:cubicBezTo>
                    <a:pt x="17" y="72"/>
                    <a:pt x="0" y="55"/>
                    <a:pt x="0" y="36"/>
                  </a:cubicBezTo>
                  <a:cubicBezTo>
                    <a:pt x="0" y="16"/>
                    <a:pt x="17" y="0"/>
                    <a:pt x="36" y="0"/>
                  </a:cubicBezTo>
                  <a:cubicBezTo>
                    <a:pt x="56" y="0"/>
                    <a:pt x="72" y="16"/>
                    <a:pt x="72" y="36"/>
                  </a:cubicBezTo>
                  <a:cubicBezTo>
                    <a:pt x="72" y="55"/>
                    <a:pt x="56" y="72"/>
                    <a:pt x="36" y="72"/>
                  </a:cubicBezTo>
                  <a:close/>
                  <a:moveTo>
                    <a:pt x="36" y="12"/>
                  </a:moveTo>
                  <a:cubicBezTo>
                    <a:pt x="23" y="12"/>
                    <a:pt x="12" y="22"/>
                    <a:pt x="12" y="36"/>
                  </a:cubicBezTo>
                  <a:cubicBezTo>
                    <a:pt x="12" y="49"/>
                    <a:pt x="23" y="60"/>
                    <a:pt x="36" y="60"/>
                  </a:cubicBezTo>
                  <a:cubicBezTo>
                    <a:pt x="50" y="60"/>
                    <a:pt x="60" y="49"/>
                    <a:pt x="60" y="36"/>
                  </a:cubicBezTo>
                  <a:cubicBezTo>
                    <a:pt x="60" y="22"/>
                    <a:pt x="50" y="12"/>
                    <a:pt x="36" y="12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rtl="0"/>
              <a:endParaRPr lang="en-GB">
                <a:solidFill>
                  <a:srgbClr val="373737"/>
                </a:solidFill>
              </a:endParaRPr>
            </a:p>
          </p:txBody>
        </p:sp>
        <p:sp>
          <p:nvSpPr>
            <p:cNvPr id="226" name="Freeform 56">
              <a:extLst>
                <a:ext uri="{FF2B5EF4-FFF2-40B4-BE49-F238E27FC236}">
                  <a16:creationId xmlns:a16="http://schemas.microsoft.com/office/drawing/2014/main" id="{D9522C0F-9FB8-170A-8C16-758599FCE75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030" y="717"/>
              <a:ext cx="74" cy="71"/>
            </a:xfrm>
            <a:custGeom>
              <a:avLst/>
              <a:gdLst>
                <a:gd name="T0" fmla="*/ 24 w 48"/>
                <a:gd name="T1" fmla="*/ 48 h 48"/>
                <a:gd name="T2" fmla="*/ 0 w 48"/>
                <a:gd name="T3" fmla="*/ 24 h 48"/>
                <a:gd name="T4" fmla="*/ 24 w 48"/>
                <a:gd name="T5" fmla="*/ 0 h 48"/>
                <a:gd name="T6" fmla="*/ 48 w 48"/>
                <a:gd name="T7" fmla="*/ 24 h 48"/>
                <a:gd name="T8" fmla="*/ 24 w 48"/>
                <a:gd name="T9" fmla="*/ 48 h 48"/>
                <a:gd name="T10" fmla="*/ 24 w 48"/>
                <a:gd name="T11" fmla="*/ 12 h 48"/>
                <a:gd name="T12" fmla="*/ 12 w 48"/>
                <a:gd name="T13" fmla="*/ 24 h 48"/>
                <a:gd name="T14" fmla="*/ 24 w 48"/>
                <a:gd name="T15" fmla="*/ 36 h 48"/>
                <a:gd name="T16" fmla="*/ 36 w 48"/>
                <a:gd name="T17" fmla="*/ 24 h 48"/>
                <a:gd name="T18" fmla="*/ 24 w 48"/>
                <a:gd name="T19" fmla="*/ 12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8" h="48">
                  <a:moveTo>
                    <a:pt x="24" y="48"/>
                  </a:moveTo>
                  <a:cubicBezTo>
                    <a:pt x="11" y="48"/>
                    <a:pt x="0" y="37"/>
                    <a:pt x="0" y="24"/>
                  </a:cubicBezTo>
                  <a:cubicBezTo>
                    <a:pt x="0" y="10"/>
                    <a:pt x="11" y="0"/>
                    <a:pt x="24" y="0"/>
                  </a:cubicBezTo>
                  <a:cubicBezTo>
                    <a:pt x="38" y="0"/>
                    <a:pt x="48" y="10"/>
                    <a:pt x="48" y="24"/>
                  </a:cubicBezTo>
                  <a:cubicBezTo>
                    <a:pt x="48" y="37"/>
                    <a:pt x="38" y="48"/>
                    <a:pt x="24" y="48"/>
                  </a:cubicBezTo>
                  <a:close/>
                  <a:moveTo>
                    <a:pt x="24" y="12"/>
                  </a:moveTo>
                  <a:cubicBezTo>
                    <a:pt x="18" y="12"/>
                    <a:pt x="12" y="17"/>
                    <a:pt x="12" y="24"/>
                  </a:cubicBezTo>
                  <a:cubicBezTo>
                    <a:pt x="12" y="30"/>
                    <a:pt x="18" y="36"/>
                    <a:pt x="24" y="36"/>
                  </a:cubicBezTo>
                  <a:cubicBezTo>
                    <a:pt x="31" y="36"/>
                    <a:pt x="36" y="30"/>
                    <a:pt x="36" y="24"/>
                  </a:cubicBezTo>
                  <a:cubicBezTo>
                    <a:pt x="36" y="17"/>
                    <a:pt x="31" y="12"/>
                    <a:pt x="24" y="12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rtl="0"/>
              <a:endParaRPr lang="en-GB">
                <a:solidFill>
                  <a:srgbClr val="373737"/>
                </a:solidFill>
              </a:endParaRPr>
            </a:p>
          </p:txBody>
        </p:sp>
        <p:sp>
          <p:nvSpPr>
            <p:cNvPr id="227" name="Freeform 57">
              <a:extLst>
                <a:ext uri="{FF2B5EF4-FFF2-40B4-BE49-F238E27FC236}">
                  <a16:creationId xmlns:a16="http://schemas.microsoft.com/office/drawing/2014/main" id="{D6A3A985-B27B-68FA-ECB9-7CC4F58A973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773" y="717"/>
              <a:ext cx="73" cy="71"/>
            </a:xfrm>
            <a:custGeom>
              <a:avLst/>
              <a:gdLst>
                <a:gd name="T0" fmla="*/ 24 w 48"/>
                <a:gd name="T1" fmla="*/ 48 h 48"/>
                <a:gd name="T2" fmla="*/ 0 w 48"/>
                <a:gd name="T3" fmla="*/ 24 h 48"/>
                <a:gd name="T4" fmla="*/ 24 w 48"/>
                <a:gd name="T5" fmla="*/ 0 h 48"/>
                <a:gd name="T6" fmla="*/ 48 w 48"/>
                <a:gd name="T7" fmla="*/ 24 h 48"/>
                <a:gd name="T8" fmla="*/ 24 w 48"/>
                <a:gd name="T9" fmla="*/ 48 h 48"/>
                <a:gd name="T10" fmla="*/ 24 w 48"/>
                <a:gd name="T11" fmla="*/ 12 h 48"/>
                <a:gd name="T12" fmla="*/ 12 w 48"/>
                <a:gd name="T13" fmla="*/ 24 h 48"/>
                <a:gd name="T14" fmla="*/ 24 w 48"/>
                <a:gd name="T15" fmla="*/ 36 h 48"/>
                <a:gd name="T16" fmla="*/ 36 w 48"/>
                <a:gd name="T17" fmla="*/ 24 h 48"/>
                <a:gd name="T18" fmla="*/ 24 w 48"/>
                <a:gd name="T19" fmla="*/ 12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8" h="48">
                  <a:moveTo>
                    <a:pt x="24" y="48"/>
                  </a:moveTo>
                  <a:cubicBezTo>
                    <a:pt x="11" y="48"/>
                    <a:pt x="0" y="37"/>
                    <a:pt x="0" y="24"/>
                  </a:cubicBezTo>
                  <a:cubicBezTo>
                    <a:pt x="0" y="10"/>
                    <a:pt x="11" y="0"/>
                    <a:pt x="24" y="0"/>
                  </a:cubicBezTo>
                  <a:cubicBezTo>
                    <a:pt x="38" y="0"/>
                    <a:pt x="48" y="10"/>
                    <a:pt x="48" y="24"/>
                  </a:cubicBezTo>
                  <a:cubicBezTo>
                    <a:pt x="48" y="37"/>
                    <a:pt x="38" y="48"/>
                    <a:pt x="24" y="48"/>
                  </a:cubicBezTo>
                  <a:close/>
                  <a:moveTo>
                    <a:pt x="24" y="12"/>
                  </a:moveTo>
                  <a:cubicBezTo>
                    <a:pt x="18" y="12"/>
                    <a:pt x="12" y="17"/>
                    <a:pt x="12" y="24"/>
                  </a:cubicBezTo>
                  <a:cubicBezTo>
                    <a:pt x="12" y="30"/>
                    <a:pt x="18" y="36"/>
                    <a:pt x="24" y="36"/>
                  </a:cubicBezTo>
                  <a:cubicBezTo>
                    <a:pt x="31" y="36"/>
                    <a:pt x="36" y="30"/>
                    <a:pt x="36" y="24"/>
                  </a:cubicBezTo>
                  <a:cubicBezTo>
                    <a:pt x="36" y="17"/>
                    <a:pt x="31" y="12"/>
                    <a:pt x="24" y="12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rtl="0"/>
              <a:endParaRPr lang="en-GB">
                <a:solidFill>
                  <a:srgbClr val="373737"/>
                </a:solidFill>
              </a:endParaRPr>
            </a:p>
          </p:txBody>
        </p:sp>
        <p:sp>
          <p:nvSpPr>
            <p:cNvPr id="228" name="Freeform 58">
              <a:extLst>
                <a:ext uri="{FF2B5EF4-FFF2-40B4-BE49-F238E27FC236}">
                  <a16:creationId xmlns:a16="http://schemas.microsoft.com/office/drawing/2014/main" id="{77B5DD6B-809E-10CA-F97E-0A6C5373FD9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718" y="989"/>
              <a:ext cx="441" cy="86"/>
            </a:xfrm>
            <a:custGeom>
              <a:avLst/>
              <a:gdLst>
                <a:gd name="T0" fmla="*/ 144 w 288"/>
                <a:gd name="T1" fmla="*/ 58 h 58"/>
                <a:gd name="T2" fmla="*/ 0 w 288"/>
                <a:gd name="T3" fmla="*/ 28 h 58"/>
                <a:gd name="T4" fmla="*/ 83 w 288"/>
                <a:gd name="T5" fmla="*/ 0 h 58"/>
                <a:gd name="T6" fmla="*/ 90 w 288"/>
                <a:gd name="T7" fmla="*/ 6 h 58"/>
                <a:gd name="T8" fmla="*/ 84 w 288"/>
                <a:gd name="T9" fmla="*/ 12 h 58"/>
                <a:gd name="T10" fmla="*/ 13 w 288"/>
                <a:gd name="T11" fmla="*/ 28 h 58"/>
                <a:gd name="T12" fmla="*/ 144 w 288"/>
                <a:gd name="T13" fmla="*/ 46 h 58"/>
                <a:gd name="T14" fmla="*/ 276 w 288"/>
                <a:gd name="T15" fmla="*/ 28 h 58"/>
                <a:gd name="T16" fmla="*/ 204 w 288"/>
                <a:gd name="T17" fmla="*/ 12 h 58"/>
                <a:gd name="T18" fmla="*/ 198 w 288"/>
                <a:gd name="T19" fmla="*/ 6 h 58"/>
                <a:gd name="T20" fmla="*/ 205 w 288"/>
                <a:gd name="T21" fmla="*/ 0 h 58"/>
                <a:gd name="T22" fmla="*/ 288 w 288"/>
                <a:gd name="T23" fmla="*/ 28 h 58"/>
                <a:gd name="T24" fmla="*/ 144 w 288"/>
                <a:gd name="T25" fmla="*/ 58 h 58"/>
                <a:gd name="T26" fmla="*/ 277 w 288"/>
                <a:gd name="T27" fmla="*/ 28 h 58"/>
                <a:gd name="T28" fmla="*/ 277 w 288"/>
                <a:gd name="T29" fmla="*/ 28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88" h="58">
                  <a:moveTo>
                    <a:pt x="144" y="58"/>
                  </a:moveTo>
                  <a:cubicBezTo>
                    <a:pt x="130" y="58"/>
                    <a:pt x="0" y="57"/>
                    <a:pt x="0" y="28"/>
                  </a:cubicBezTo>
                  <a:cubicBezTo>
                    <a:pt x="0" y="14"/>
                    <a:pt x="28" y="5"/>
                    <a:pt x="83" y="0"/>
                  </a:cubicBezTo>
                  <a:cubicBezTo>
                    <a:pt x="87" y="0"/>
                    <a:pt x="90" y="2"/>
                    <a:pt x="90" y="6"/>
                  </a:cubicBezTo>
                  <a:cubicBezTo>
                    <a:pt x="90" y="9"/>
                    <a:pt x="88" y="12"/>
                    <a:pt x="84" y="12"/>
                  </a:cubicBezTo>
                  <a:cubicBezTo>
                    <a:pt x="33" y="16"/>
                    <a:pt x="16" y="24"/>
                    <a:pt x="13" y="28"/>
                  </a:cubicBezTo>
                  <a:cubicBezTo>
                    <a:pt x="19" y="34"/>
                    <a:pt x="65" y="46"/>
                    <a:pt x="144" y="46"/>
                  </a:cubicBezTo>
                  <a:cubicBezTo>
                    <a:pt x="223" y="46"/>
                    <a:pt x="270" y="34"/>
                    <a:pt x="276" y="28"/>
                  </a:cubicBezTo>
                  <a:cubicBezTo>
                    <a:pt x="273" y="24"/>
                    <a:pt x="255" y="16"/>
                    <a:pt x="204" y="12"/>
                  </a:cubicBezTo>
                  <a:cubicBezTo>
                    <a:pt x="201" y="12"/>
                    <a:pt x="198" y="9"/>
                    <a:pt x="198" y="6"/>
                  </a:cubicBezTo>
                  <a:cubicBezTo>
                    <a:pt x="199" y="2"/>
                    <a:pt x="202" y="0"/>
                    <a:pt x="205" y="0"/>
                  </a:cubicBezTo>
                  <a:cubicBezTo>
                    <a:pt x="260" y="5"/>
                    <a:pt x="288" y="14"/>
                    <a:pt x="288" y="28"/>
                  </a:cubicBezTo>
                  <a:cubicBezTo>
                    <a:pt x="288" y="57"/>
                    <a:pt x="159" y="58"/>
                    <a:pt x="144" y="58"/>
                  </a:cubicBezTo>
                  <a:close/>
                  <a:moveTo>
                    <a:pt x="277" y="28"/>
                  </a:moveTo>
                  <a:cubicBezTo>
                    <a:pt x="277" y="28"/>
                    <a:pt x="277" y="28"/>
                    <a:pt x="277" y="2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rtl="0"/>
              <a:endParaRPr lang="en-GB">
                <a:solidFill>
                  <a:srgbClr val="373737"/>
                </a:solidFill>
              </a:endParaRPr>
            </a:p>
          </p:txBody>
        </p:sp>
        <p:sp>
          <p:nvSpPr>
            <p:cNvPr id="229" name="Freeform 59">
              <a:extLst>
                <a:ext uri="{FF2B5EF4-FFF2-40B4-BE49-F238E27FC236}">
                  <a16:creationId xmlns:a16="http://schemas.microsoft.com/office/drawing/2014/main" id="{C890EABD-0269-9468-C48A-403CC33205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883" y="806"/>
              <a:ext cx="110" cy="180"/>
            </a:xfrm>
            <a:custGeom>
              <a:avLst/>
              <a:gdLst>
                <a:gd name="T0" fmla="*/ 66 w 72"/>
                <a:gd name="T1" fmla="*/ 120 h 120"/>
                <a:gd name="T2" fmla="*/ 6 w 72"/>
                <a:gd name="T3" fmla="*/ 120 h 120"/>
                <a:gd name="T4" fmla="*/ 0 w 72"/>
                <a:gd name="T5" fmla="*/ 114 h 120"/>
                <a:gd name="T6" fmla="*/ 0 w 72"/>
                <a:gd name="T7" fmla="*/ 36 h 120"/>
                <a:gd name="T8" fmla="*/ 36 w 72"/>
                <a:gd name="T9" fmla="*/ 0 h 120"/>
                <a:gd name="T10" fmla="*/ 72 w 72"/>
                <a:gd name="T11" fmla="*/ 36 h 120"/>
                <a:gd name="T12" fmla="*/ 72 w 72"/>
                <a:gd name="T13" fmla="*/ 114 h 120"/>
                <a:gd name="T14" fmla="*/ 66 w 72"/>
                <a:gd name="T15" fmla="*/ 120 h 120"/>
                <a:gd name="T16" fmla="*/ 12 w 72"/>
                <a:gd name="T17" fmla="*/ 108 h 120"/>
                <a:gd name="T18" fmla="*/ 60 w 72"/>
                <a:gd name="T19" fmla="*/ 108 h 120"/>
                <a:gd name="T20" fmla="*/ 60 w 72"/>
                <a:gd name="T21" fmla="*/ 36 h 120"/>
                <a:gd name="T22" fmla="*/ 36 w 72"/>
                <a:gd name="T23" fmla="*/ 12 h 120"/>
                <a:gd name="T24" fmla="*/ 12 w 72"/>
                <a:gd name="T25" fmla="*/ 36 h 120"/>
                <a:gd name="T26" fmla="*/ 12 w 72"/>
                <a:gd name="T27" fmla="*/ 108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2" h="120">
                  <a:moveTo>
                    <a:pt x="66" y="120"/>
                  </a:moveTo>
                  <a:cubicBezTo>
                    <a:pt x="6" y="120"/>
                    <a:pt x="6" y="120"/>
                    <a:pt x="6" y="120"/>
                  </a:cubicBezTo>
                  <a:cubicBezTo>
                    <a:pt x="3" y="120"/>
                    <a:pt x="0" y="117"/>
                    <a:pt x="0" y="114"/>
                  </a:cubicBezTo>
                  <a:cubicBezTo>
                    <a:pt x="0" y="36"/>
                    <a:pt x="0" y="36"/>
                    <a:pt x="0" y="36"/>
                  </a:cubicBezTo>
                  <a:cubicBezTo>
                    <a:pt x="0" y="16"/>
                    <a:pt x="17" y="0"/>
                    <a:pt x="36" y="0"/>
                  </a:cubicBezTo>
                  <a:cubicBezTo>
                    <a:pt x="56" y="0"/>
                    <a:pt x="72" y="16"/>
                    <a:pt x="72" y="36"/>
                  </a:cubicBezTo>
                  <a:cubicBezTo>
                    <a:pt x="72" y="114"/>
                    <a:pt x="72" y="114"/>
                    <a:pt x="72" y="114"/>
                  </a:cubicBezTo>
                  <a:cubicBezTo>
                    <a:pt x="72" y="117"/>
                    <a:pt x="70" y="120"/>
                    <a:pt x="66" y="120"/>
                  </a:cubicBezTo>
                  <a:close/>
                  <a:moveTo>
                    <a:pt x="12" y="108"/>
                  </a:moveTo>
                  <a:cubicBezTo>
                    <a:pt x="60" y="108"/>
                    <a:pt x="60" y="108"/>
                    <a:pt x="60" y="108"/>
                  </a:cubicBezTo>
                  <a:cubicBezTo>
                    <a:pt x="60" y="36"/>
                    <a:pt x="60" y="36"/>
                    <a:pt x="60" y="36"/>
                  </a:cubicBezTo>
                  <a:cubicBezTo>
                    <a:pt x="60" y="22"/>
                    <a:pt x="50" y="12"/>
                    <a:pt x="36" y="12"/>
                  </a:cubicBezTo>
                  <a:cubicBezTo>
                    <a:pt x="23" y="12"/>
                    <a:pt x="12" y="22"/>
                    <a:pt x="12" y="36"/>
                  </a:cubicBezTo>
                  <a:lnTo>
                    <a:pt x="12" y="108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rtl="0"/>
              <a:endParaRPr lang="en-GB">
                <a:solidFill>
                  <a:srgbClr val="373737"/>
                </a:solidFill>
              </a:endParaRPr>
            </a:p>
          </p:txBody>
        </p:sp>
        <p:sp>
          <p:nvSpPr>
            <p:cNvPr id="230" name="Freeform 60">
              <a:extLst>
                <a:ext uri="{FF2B5EF4-FFF2-40B4-BE49-F238E27FC236}">
                  <a16:creationId xmlns:a16="http://schemas.microsoft.com/office/drawing/2014/main" id="{D59C5876-7283-F345-2FF0-0332A849949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030" y="806"/>
              <a:ext cx="74" cy="144"/>
            </a:xfrm>
            <a:custGeom>
              <a:avLst/>
              <a:gdLst>
                <a:gd name="T0" fmla="*/ 42 w 48"/>
                <a:gd name="T1" fmla="*/ 96 h 96"/>
                <a:gd name="T2" fmla="*/ 6 w 48"/>
                <a:gd name="T3" fmla="*/ 96 h 96"/>
                <a:gd name="T4" fmla="*/ 0 w 48"/>
                <a:gd name="T5" fmla="*/ 90 h 96"/>
                <a:gd name="T6" fmla="*/ 0 w 48"/>
                <a:gd name="T7" fmla="*/ 24 h 96"/>
                <a:gd name="T8" fmla="*/ 24 w 48"/>
                <a:gd name="T9" fmla="*/ 0 h 96"/>
                <a:gd name="T10" fmla="*/ 48 w 48"/>
                <a:gd name="T11" fmla="*/ 24 h 96"/>
                <a:gd name="T12" fmla="*/ 48 w 48"/>
                <a:gd name="T13" fmla="*/ 90 h 96"/>
                <a:gd name="T14" fmla="*/ 42 w 48"/>
                <a:gd name="T15" fmla="*/ 96 h 96"/>
                <a:gd name="T16" fmla="*/ 12 w 48"/>
                <a:gd name="T17" fmla="*/ 84 h 96"/>
                <a:gd name="T18" fmla="*/ 36 w 48"/>
                <a:gd name="T19" fmla="*/ 84 h 96"/>
                <a:gd name="T20" fmla="*/ 36 w 48"/>
                <a:gd name="T21" fmla="*/ 24 h 96"/>
                <a:gd name="T22" fmla="*/ 24 w 48"/>
                <a:gd name="T23" fmla="*/ 12 h 96"/>
                <a:gd name="T24" fmla="*/ 12 w 48"/>
                <a:gd name="T25" fmla="*/ 24 h 96"/>
                <a:gd name="T26" fmla="*/ 12 w 48"/>
                <a:gd name="T27" fmla="*/ 84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8" h="96">
                  <a:moveTo>
                    <a:pt x="42" y="96"/>
                  </a:moveTo>
                  <a:cubicBezTo>
                    <a:pt x="6" y="96"/>
                    <a:pt x="6" y="96"/>
                    <a:pt x="6" y="96"/>
                  </a:cubicBezTo>
                  <a:cubicBezTo>
                    <a:pt x="3" y="96"/>
                    <a:pt x="0" y="93"/>
                    <a:pt x="0" y="90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0" y="10"/>
                    <a:pt x="11" y="0"/>
                    <a:pt x="24" y="0"/>
                  </a:cubicBezTo>
                  <a:cubicBezTo>
                    <a:pt x="38" y="0"/>
                    <a:pt x="48" y="10"/>
                    <a:pt x="48" y="24"/>
                  </a:cubicBezTo>
                  <a:cubicBezTo>
                    <a:pt x="48" y="90"/>
                    <a:pt x="48" y="90"/>
                    <a:pt x="48" y="90"/>
                  </a:cubicBezTo>
                  <a:cubicBezTo>
                    <a:pt x="48" y="93"/>
                    <a:pt x="46" y="96"/>
                    <a:pt x="42" y="96"/>
                  </a:cubicBezTo>
                  <a:close/>
                  <a:moveTo>
                    <a:pt x="12" y="84"/>
                  </a:moveTo>
                  <a:cubicBezTo>
                    <a:pt x="36" y="84"/>
                    <a:pt x="36" y="84"/>
                    <a:pt x="36" y="84"/>
                  </a:cubicBezTo>
                  <a:cubicBezTo>
                    <a:pt x="36" y="24"/>
                    <a:pt x="36" y="24"/>
                    <a:pt x="36" y="24"/>
                  </a:cubicBezTo>
                  <a:cubicBezTo>
                    <a:pt x="36" y="17"/>
                    <a:pt x="31" y="12"/>
                    <a:pt x="24" y="12"/>
                  </a:cubicBezTo>
                  <a:cubicBezTo>
                    <a:pt x="18" y="12"/>
                    <a:pt x="12" y="17"/>
                    <a:pt x="12" y="24"/>
                  </a:cubicBezTo>
                  <a:lnTo>
                    <a:pt x="12" y="8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rtl="0"/>
              <a:endParaRPr lang="en-GB">
                <a:solidFill>
                  <a:srgbClr val="373737"/>
                </a:solidFill>
              </a:endParaRPr>
            </a:p>
          </p:txBody>
        </p:sp>
        <p:sp>
          <p:nvSpPr>
            <p:cNvPr id="231" name="Freeform 61">
              <a:extLst>
                <a:ext uri="{FF2B5EF4-FFF2-40B4-BE49-F238E27FC236}">
                  <a16:creationId xmlns:a16="http://schemas.microsoft.com/office/drawing/2014/main" id="{B9B090DD-7548-15DE-4593-95F696931BD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773" y="806"/>
              <a:ext cx="73" cy="144"/>
            </a:xfrm>
            <a:custGeom>
              <a:avLst/>
              <a:gdLst>
                <a:gd name="T0" fmla="*/ 42 w 48"/>
                <a:gd name="T1" fmla="*/ 96 h 96"/>
                <a:gd name="T2" fmla="*/ 6 w 48"/>
                <a:gd name="T3" fmla="*/ 96 h 96"/>
                <a:gd name="T4" fmla="*/ 0 w 48"/>
                <a:gd name="T5" fmla="*/ 90 h 96"/>
                <a:gd name="T6" fmla="*/ 0 w 48"/>
                <a:gd name="T7" fmla="*/ 24 h 96"/>
                <a:gd name="T8" fmla="*/ 24 w 48"/>
                <a:gd name="T9" fmla="*/ 0 h 96"/>
                <a:gd name="T10" fmla="*/ 48 w 48"/>
                <a:gd name="T11" fmla="*/ 24 h 96"/>
                <a:gd name="T12" fmla="*/ 48 w 48"/>
                <a:gd name="T13" fmla="*/ 90 h 96"/>
                <a:gd name="T14" fmla="*/ 42 w 48"/>
                <a:gd name="T15" fmla="*/ 96 h 96"/>
                <a:gd name="T16" fmla="*/ 12 w 48"/>
                <a:gd name="T17" fmla="*/ 84 h 96"/>
                <a:gd name="T18" fmla="*/ 36 w 48"/>
                <a:gd name="T19" fmla="*/ 84 h 96"/>
                <a:gd name="T20" fmla="*/ 36 w 48"/>
                <a:gd name="T21" fmla="*/ 24 h 96"/>
                <a:gd name="T22" fmla="*/ 24 w 48"/>
                <a:gd name="T23" fmla="*/ 12 h 96"/>
                <a:gd name="T24" fmla="*/ 12 w 48"/>
                <a:gd name="T25" fmla="*/ 24 h 96"/>
                <a:gd name="T26" fmla="*/ 12 w 48"/>
                <a:gd name="T27" fmla="*/ 84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8" h="96">
                  <a:moveTo>
                    <a:pt x="42" y="96"/>
                  </a:moveTo>
                  <a:cubicBezTo>
                    <a:pt x="6" y="96"/>
                    <a:pt x="6" y="96"/>
                    <a:pt x="6" y="96"/>
                  </a:cubicBezTo>
                  <a:cubicBezTo>
                    <a:pt x="3" y="96"/>
                    <a:pt x="0" y="93"/>
                    <a:pt x="0" y="90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0" y="10"/>
                    <a:pt x="11" y="0"/>
                    <a:pt x="24" y="0"/>
                  </a:cubicBezTo>
                  <a:cubicBezTo>
                    <a:pt x="38" y="0"/>
                    <a:pt x="48" y="10"/>
                    <a:pt x="48" y="24"/>
                  </a:cubicBezTo>
                  <a:cubicBezTo>
                    <a:pt x="48" y="90"/>
                    <a:pt x="48" y="90"/>
                    <a:pt x="48" y="90"/>
                  </a:cubicBezTo>
                  <a:cubicBezTo>
                    <a:pt x="48" y="93"/>
                    <a:pt x="46" y="96"/>
                    <a:pt x="42" y="96"/>
                  </a:cubicBezTo>
                  <a:close/>
                  <a:moveTo>
                    <a:pt x="12" y="84"/>
                  </a:moveTo>
                  <a:cubicBezTo>
                    <a:pt x="36" y="84"/>
                    <a:pt x="36" y="84"/>
                    <a:pt x="36" y="84"/>
                  </a:cubicBezTo>
                  <a:cubicBezTo>
                    <a:pt x="36" y="24"/>
                    <a:pt x="36" y="24"/>
                    <a:pt x="36" y="24"/>
                  </a:cubicBezTo>
                  <a:cubicBezTo>
                    <a:pt x="36" y="17"/>
                    <a:pt x="31" y="12"/>
                    <a:pt x="24" y="12"/>
                  </a:cubicBezTo>
                  <a:cubicBezTo>
                    <a:pt x="18" y="12"/>
                    <a:pt x="12" y="17"/>
                    <a:pt x="12" y="24"/>
                  </a:cubicBezTo>
                  <a:lnTo>
                    <a:pt x="12" y="8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rtl="0"/>
              <a:endParaRPr lang="en-GB">
                <a:solidFill>
                  <a:srgbClr val="373737"/>
                </a:solidFill>
              </a:endParaRPr>
            </a:p>
          </p:txBody>
        </p:sp>
      </p:grpSp>
      <p:grpSp>
        <p:nvGrpSpPr>
          <p:cNvPr id="234" name="Group 49">
            <a:extLst>
              <a:ext uri="{FF2B5EF4-FFF2-40B4-BE49-F238E27FC236}">
                <a16:creationId xmlns:a16="http://schemas.microsoft.com/office/drawing/2014/main" id="{96EF269B-A7C9-808F-CE47-077206C115C6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4884334" y="1702427"/>
            <a:ext cx="252593" cy="252000"/>
            <a:chOff x="1374" y="1718"/>
            <a:chExt cx="427" cy="426"/>
          </a:xfrm>
          <a:solidFill>
            <a:schemeClr val="bg1"/>
          </a:solidFill>
        </p:grpSpPr>
        <p:sp>
          <p:nvSpPr>
            <p:cNvPr id="235" name="Freeform 50">
              <a:extLst>
                <a:ext uri="{FF2B5EF4-FFF2-40B4-BE49-F238E27FC236}">
                  <a16:creationId xmlns:a16="http://schemas.microsoft.com/office/drawing/2014/main" id="{C43FA4A4-5FFB-5F82-B789-84EBDE74480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374" y="1718"/>
              <a:ext cx="427" cy="426"/>
            </a:xfrm>
            <a:custGeom>
              <a:avLst/>
              <a:gdLst>
                <a:gd name="T0" fmla="*/ 144 w 288"/>
                <a:gd name="T1" fmla="*/ 288 h 288"/>
                <a:gd name="T2" fmla="*/ 0 w 288"/>
                <a:gd name="T3" fmla="*/ 144 h 288"/>
                <a:gd name="T4" fmla="*/ 144 w 288"/>
                <a:gd name="T5" fmla="*/ 0 h 288"/>
                <a:gd name="T6" fmla="*/ 288 w 288"/>
                <a:gd name="T7" fmla="*/ 144 h 288"/>
                <a:gd name="T8" fmla="*/ 144 w 288"/>
                <a:gd name="T9" fmla="*/ 288 h 288"/>
                <a:gd name="T10" fmla="*/ 144 w 288"/>
                <a:gd name="T11" fmla="*/ 12 h 288"/>
                <a:gd name="T12" fmla="*/ 12 w 288"/>
                <a:gd name="T13" fmla="*/ 144 h 288"/>
                <a:gd name="T14" fmla="*/ 144 w 288"/>
                <a:gd name="T15" fmla="*/ 276 h 288"/>
                <a:gd name="T16" fmla="*/ 276 w 288"/>
                <a:gd name="T17" fmla="*/ 144 h 288"/>
                <a:gd name="T18" fmla="*/ 144 w 288"/>
                <a:gd name="T19" fmla="*/ 12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88" h="288">
                  <a:moveTo>
                    <a:pt x="144" y="288"/>
                  </a:moveTo>
                  <a:cubicBezTo>
                    <a:pt x="64" y="288"/>
                    <a:pt x="0" y="223"/>
                    <a:pt x="0" y="144"/>
                  </a:cubicBezTo>
                  <a:cubicBezTo>
                    <a:pt x="0" y="64"/>
                    <a:pt x="64" y="0"/>
                    <a:pt x="144" y="0"/>
                  </a:cubicBezTo>
                  <a:cubicBezTo>
                    <a:pt x="223" y="0"/>
                    <a:pt x="288" y="64"/>
                    <a:pt x="288" y="144"/>
                  </a:cubicBezTo>
                  <a:cubicBezTo>
                    <a:pt x="288" y="223"/>
                    <a:pt x="223" y="288"/>
                    <a:pt x="144" y="288"/>
                  </a:cubicBezTo>
                  <a:close/>
                  <a:moveTo>
                    <a:pt x="144" y="12"/>
                  </a:moveTo>
                  <a:cubicBezTo>
                    <a:pt x="71" y="12"/>
                    <a:pt x="12" y="71"/>
                    <a:pt x="12" y="144"/>
                  </a:cubicBezTo>
                  <a:cubicBezTo>
                    <a:pt x="12" y="216"/>
                    <a:pt x="71" y="276"/>
                    <a:pt x="144" y="276"/>
                  </a:cubicBezTo>
                  <a:cubicBezTo>
                    <a:pt x="217" y="276"/>
                    <a:pt x="276" y="216"/>
                    <a:pt x="276" y="144"/>
                  </a:cubicBezTo>
                  <a:cubicBezTo>
                    <a:pt x="276" y="71"/>
                    <a:pt x="217" y="12"/>
                    <a:pt x="144" y="12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rtl="0"/>
              <a:endParaRPr lang="en-GB">
                <a:solidFill>
                  <a:srgbClr val="373737"/>
                </a:solidFill>
              </a:endParaRPr>
            </a:p>
          </p:txBody>
        </p:sp>
        <p:sp>
          <p:nvSpPr>
            <p:cNvPr id="236" name="Freeform 51">
              <a:extLst>
                <a:ext uri="{FF2B5EF4-FFF2-40B4-BE49-F238E27FC236}">
                  <a16:creationId xmlns:a16="http://schemas.microsoft.com/office/drawing/2014/main" id="{B106C518-A5E8-4803-A706-8403EF95C613}"/>
                </a:ext>
              </a:extLst>
            </p:cNvPr>
            <p:cNvSpPr>
              <a:spLocks/>
            </p:cNvSpPr>
            <p:nvPr/>
          </p:nvSpPr>
          <p:spPr bwMode="auto">
            <a:xfrm>
              <a:off x="1570" y="1824"/>
              <a:ext cx="126" cy="214"/>
            </a:xfrm>
            <a:custGeom>
              <a:avLst/>
              <a:gdLst>
                <a:gd name="T0" fmla="*/ 78 w 85"/>
                <a:gd name="T1" fmla="*/ 144 h 144"/>
                <a:gd name="T2" fmla="*/ 74 w 85"/>
                <a:gd name="T3" fmla="*/ 142 h 144"/>
                <a:gd name="T4" fmla="*/ 2 w 85"/>
                <a:gd name="T5" fmla="*/ 76 h 144"/>
                <a:gd name="T6" fmla="*/ 0 w 85"/>
                <a:gd name="T7" fmla="*/ 72 h 144"/>
                <a:gd name="T8" fmla="*/ 0 w 85"/>
                <a:gd name="T9" fmla="*/ 6 h 144"/>
                <a:gd name="T10" fmla="*/ 6 w 85"/>
                <a:gd name="T11" fmla="*/ 0 h 144"/>
                <a:gd name="T12" fmla="*/ 12 w 85"/>
                <a:gd name="T13" fmla="*/ 6 h 144"/>
                <a:gd name="T14" fmla="*/ 12 w 85"/>
                <a:gd name="T15" fmla="*/ 69 h 144"/>
                <a:gd name="T16" fmla="*/ 82 w 85"/>
                <a:gd name="T17" fmla="*/ 133 h 144"/>
                <a:gd name="T18" fmla="*/ 82 w 85"/>
                <a:gd name="T19" fmla="*/ 142 h 144"/>
                <a:gd name="T20" fmla="*/ 78 w 85"/>
                <a:gd name="T21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5" h="144">
                  <a:moveTo>
                    <a:pt x="78" y="144"/>
                  </a:moveTo>
                  <a:cubicBezTo>
                    <a:pt x="76" y="144"/>
                    <a:pt x="75" y="143"/>
                    <a:pt x="74" y="142"/>
                  </a:cubicBezTo>
                  <a:cubicBezTo>
                    <a:pt x="2" y="76"/>
                    <a:pt x="2" y="76"/>
                    <a:pt x="2" y="76"/>
                  </a:cubicBezTo>
                  <a:cubicBezTo>
                    <a:pt x="1" y="75"/>
                    <a:pt x="0" y="73"/>
                    <a:pt x="0" y="72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9" y="0"/>
                    <a:pt x="12" y="2"/>
                    <a:pt x="12" y="6"/>
                  </a:cubicBezTo>
                  <a:cubicBezTo>
                    <a:pt x="12" y="69"/>
                    <a:pt x="12" y="69"/>
                    <a:pt x="12" y="69"/>
                  </a:cubicBezTo>
                  <a:cubicBezTo>
                    <a:pt x="82" y="133"/>
                    <a:pt x="82" y="133"/>
                    <a:pt x="82" y="133"/>
                  </a:cubicBezTo>
                  <a:cubicBezTo>
                    <a:pt x="84" y="135"/>
                    <a:pt x="85" y="139"/>
                    <a:pt x="82" y="142"/>
                  </a:cubicBezTo>
                  <a:cubicBezTo>
                    <a:pt x="81" y="143"/>
                    <a:pt x="79" y="144"/>
                    <a:pt x="78" y="14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rtl="0"/>
              <a:endParaRPr lang="en-GB">
                <a:solidFill>
                  <a:srgbClr val="373737"/>
                </a:solidFill>
              </a:endParaRPr>
            </a:p>
          </p:txBody>
        </p:sp>
      </p:grpSp>
      <p:sp>
        <p:nvSpPr>
          <p:cNvPr id="246" name="Inhaltsplatzhalter 4">
            <a:extLst>
              <a:ext uri="{FF2B5EF4-FFF2-40B4-BE49-F238E27FC236}">
                <a16:creationId xmlns:a16="http://schemas.microsoft.com/office/drawing/2014/main" id="{0111E7D6-C3CF-BE79-FA57-37813F4D7859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5788474" y="2964922"/>
            <a:ext cx="3393625" cy="3173078"/>
          </a:xfrm>
        </p:spPr>
        <p:txBody>
          <a:bodyPr/>
          <a:lstStyle>
            <a:lvl1pPr>
              <a:defRPr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rtl="0">
              <a:buClr>
                <a:srgbClr val="7192C7"/>
              </a:buClr>
              <a:defRPr sz="1100"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rtl="0">
              <a:buClr>
                <a:srgbClr val="7192C7"/>
              </a:buClr>
              <a:defRPr sz="1100"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rtl="0">
              <a:buClr>
                <a:srgbClr val="7192C7"/>
              </a:buClr>
              <a:defRPr sz="1100"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rtl="0">
              <a:buClr>
                <a:srgbClr val="7192C7"/>
              </a:buClr>
              <a:defRPr sz="1100"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rtl="0">
              <a:buClr>
                <a:srgbClr val="7192C7"/>
              </a:buClr>
              <a:defRPr sz="1100"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>
              <a:defRPr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>
              <a:defRPr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rtl="0">
              <a:buClr>
                <a:srgbClr val="7192C7"/>
              </a:buClr>
              <a:defRPr sz="700"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lvl="1"/>
            <a:r>
              <a:rPr lang="en-GB"/>
              <a:t>Haupttext</a:t>
            </a:r>
          </a:p>
          <a:p>
            <a:pPr lvl="2"/>
            <a:r>
              <a:rPr lang="en-GB"/>
              <a:t>Erste Aufzählungsebene</a:t>
            </a:r>
          </a:p>
          <a:p>
            <a:pPr lvl="3"/>
            <a:r>
              <a:rPr lang="en-GB"/>
              <a:t>Zweite Aufzählungsebene</a:t>
            </a:r>
          </a:p>
          <a:p>
            <a:pPr lvl="4"/>
            <a:r>
              <a:rPr lang="en-GB"/>
              <a:t>Erste Nummerierungsebene</a:t>
            </a:r>
          </a:p>
          <a:p>
            <a:pPr lvl="5"/>
            <a:r>
              <a:rPr lang="en-GB"/>
              <a:t>Zweite Nummerierungsebene</a:t>
            </a:r>
          </a:p>
          <a:p>
            <a:pPr lvl="8"/>
            <a:endParaRPr lang="en-GB"/>
          </a:p>
        </p:txBody>
      </p:sp>
      <p:sp>
        <p:nvSpPr>
          <p:cNvPr id="247" name="Inhaltsplatzhalter 4">
            <a:extLst>
              <a:ext uri="{FF2B5EF4-FFF2-40B4-BE49-F238E27FC236}">
                <a16:creationId xmlns:a16="http://schemas.microsoft.com/office/drawing/2014/main" id="{653057E7-22F9-86D9-B605-A795406FCC54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9477286" y="2964922"/>
            <a:ext cx="2235440" cy="3173078"/>
          </a:xfrm>
        </p:spPr>
        <p:txBody>
          <a:bodyPr/>
          <a:lstStyle>
            <a:lvl1pPr>
              <a:defRPr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rtl="0">
              <a:buClr>
                <a:srgbClr val="7192C7"/>
              </a:buClr>
              <a:defRPr sz="1100"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rtl="0">
              <a:buClr>
                <a:srgbClr val="7192C7"/>
              </a:buClr>
              <a:defRPr sz="1100"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rtl="0">
              <a:buClr>
                <a:srgbClr val="7192C7"/>
              </a:buClr>
              <a:defRPr sz="1100"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rtl="0">
              <a:buClr>
                <a:srgbClr val="7192C7"/>
              </a:buClr>
              <a:defRPr sz="1100"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rtl="0">
              <a:buClr>
                <a:srgbClr val="7192C7"/>
              </a:buClr>
              <a:defRPr sz="1100"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>
              <a:defRPr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>
              <a:defRPr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rtl="0">
              <a:buClr>
                <a:srgbClr val="7192C7"/>
              </a:buClr>
              <a:defRPr sz="700"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lvl="1"/>
            <a:r>
              <a:rPr lang="en-GB"/>
              <a:t>Haupttext</a:t>
            </a:r>
          </a:p>
          <a:p>
            <a:pPr lvl="2"/>
            <a:r>
              <a:rPr lang="en-GB"/>
              <a:t>Erste Aufzählungsebene</a:t>
            </a:r>
          </a:p>
          <a:p>
            <a:pPr lvl="3"/>
            <a:r>
              <a:rPr lang="en-GB"/>
              <a:t>Zweite Aufzählungsebene</a:t>
            </a:r>
          </a:p>
          <a:p>
            <a:pPr lvl="4"/>
            <a:r>
              <a:rPr lang="en-GB"/>
              <a:t>Erste Nummerierungsebene</a:t>
            </a:r>
          </a:p>
          <a:p>
            <a:pPr lvl="5"/>
            <a:r>
              <a:rPr lang="en-GB"/>
              <a:t>Zweite Nummerierungsebene</a:t>
            </a:r>
          </a:p>
          <a:p>
            <a:pPr lvl="8"/>
            <a:endParaRPr lang="en-GB"/>
          </a:p>
        </p:txBody>
      </p:sp>
      <p:cxnSp>
        <p:nvCxnSpPr>
          <p:cNvPr id="248" name="Straight Connector 22">
            <a:extLst>
              <a:ext uri="{FF2B5EF4-FFF2-40B4-BE49-F238E27FC236}">
                <a16:creationId xmlns:a16="http://schemas.microsoft.com/office/drawing/2014/main" id="{7CC30D84-1E3D-EC2D-33DE-511DE8F23B15}"/>
              </a:ext>
            </a:extLst>
          </p:cNvPr>
          <p:cNvCxnSpPr/>
          <p:nvPr/>
        </p:nvCxnSpPr>
        <p:spPr>
          <a:xfrm>
            <a:off x="8257041" y="1672855"/>
            <a:ext cx="0" cy="28800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9" name="Straight Connector 23">
            <a:extLst>
              <a:ext uri="{FF2B5EF4-FFF2-40B4-BE49-F238E27FC236}">
                <a16:creationId xmlns:a16="http://schemas.microsoft.com/office/drawing/2014/main" id="{9AA65630-B3E2-B9F4-55AA-72DB2A953044}"/>
              </a:ext>
            </a:extLst>
          </p:cNvPr>
          <p:cNvCxnSpPr/>
          <p:nvPr/>
        </p:nvCxnSpPr>
        <p:spPr>
          <a:xfrm>
            <a:off x="6742699" y="1684427"/>
            <a:ext cx="0" cy="28800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0" name="Straight Connector 24">
            <a:extLst>
              <a:ext uri="{FF2B5EF4-FFF2-40B4-BE49-F238E27FC236}">
                <a16:creationId xmlns:a16="http://schemas.microsoft.com/office/drawing/2014/main" id="{31961AFE-E1BF-BC7B-25B3-2180D6138CB0}"/>
              </a:ext>
            </a:extLst>
          </p:cNvPr>
          <p:cNvCxnSpPr/>
          <p:nvPr/>
        </p:nvCxnSpPr>
        <p:spPr>
          <a:xfrm>
            <a:off x="4715510" y="1684427"/>
            <a:ext cx="0" cy="28800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platzhalter 8">
            <a:extLst>
              <a:ext uri="{FF2B5EF4-FFF2-40B4-BE49-F238E27FC236}">
                <a16:creationId xmlns:a16="http://schemas.microsoft.com/office/drawing/2014/main" id="{FA0404F2-F9A4-815F-04D6-40FA937CFD89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0" y="1471857"/>
            <a:ext cx="950014" cy="685756"/>
          </a:xfrm>
          <a:solidFill>
            <a:schemeClr val="accent4"/>
          </a:solidFill>
        </p:spPr>
        <p:txBody>
          <a:bodyPr anchor="ctr">
            <a:spAutoFit/>
          </a:bodyPr>
          <a:lstStyle>
            <a:lvl1pPr algn="ctr" rtl="0">
              <a:lnSpc>
                <a:spcPct val="100000"/>
              </a:lnSpc>
              <a:defRPr sz="4400" cap="all" spc="40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01</a:t>
            </a:r>
          </a:p>
        </p:txBody>
      </p:sp>
      <p:sp>
        <p:nvSpPr>
          <p:cNvPr id="21" name="Textplatzhalter 14">
            <a:extLst>
              <a:ext uri="{FF2B5EF4-FFF2-40B4-BE49-F238E27FC236}">
                <a16:creationId xmlns:a16="http://schemas.microsoft.com/office/drawing/2014/main" id="{897E55EE-C6A9-29B9-8072-9939ABCC448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8800" y="396000"/>
            <a:ext cx="7525375" cy="216000"/>
          </a:xfrm>
          <a:prstGeom prst="rect">
            <a:avLst/>
          </a:prstGeom>
          <a:noFill/>
        </p:spPr>
        <p:txBody>
          <a:bodyPr anchor="b" anchorCtr="0"/>
          <a:lstStyle>
            <a:lvl1pPr rtl="0">
              <a:spcAft>
                <a:spcPts val="1200"/>
              </a:spcAft>
              <a:defRPr sz="1400" b="1" i="0" cap="all" baseline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FOLIENTITEL</a:t>
            </a:r>
          </a:p>
        </p:txBody>
      </p:sp>
    </p:spTree>
    <p:extLst>
      <p:ext uri="{BB962C8B-B14F-4D97-AF65-F5344CB8AC3E}">
        <p14:creationId xmlns:p14="http://schemas.microsoft.com/office/powerpoint/2010/main" val="3007905170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Agenda w Pictur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>
            <a:extLst>
              <a:ext uri="{FF2B5EF4-FFF2-40B4-BE49-F238E27FC236}">
                <a16:creationId xmlns:a16="http://schemas.microsoft.com/office/drawing/2014/main" id="{66B5C4D3-3146-1CCB-9B93-E9EC48B7806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5" name="Object 14" hidden="1">
                        <a:extLst>
                          <a:ext uri="{FF2B5EF4-FFF2-40B4-BE49-F238E27FC236}">
                            <a16:creationId xmlns:a16="http://schemas.microsoft.com/office/drawing/2014/main" id="{66B5C4D3-3146-1CCB-9B93-E9EC48B7806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1" name="Grafik 60" descr="Ein Bild, das Kleidung, Person, Gebäude, Mann enthält.&#10;&#10;Automatisch generierte Beschreibung">
            <a:extLst>
              <a:ext uri="{FF2B5EF4-FFF2-40B4-BE49-F238E27FC236}">
                <a16:creationId xmlns:a16="http://schemas.microsoft.com/office/drawing/2014/main" id="{F8D94991-621D-1918-1F3C-E09749868AB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alphaModFix amt="50000"/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rightnessContrast bright="-3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r="-10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AE26D5F3-09AA-6FDF-E475-88C87D3A95B4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 rtl="0"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Senacor  |  Deutsche Bank  |  Request for Proposal – Miles &amp; More // Mobile app solution development </a:t>
            </a:r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38B9019E-98A3-952D-98FB-6EC15B672F0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 rtl="0"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E63DBB63-5C76-DA40-949C-F00FB53C9B50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9" name="Titel 8">
            <a:extLst>
              <a:ext uri="{FF2B5EF4-FFF2-40B4-BE49-F238E27FC236}">
                <a16:creationId xmlns:a16="http://schemas.microsoft.com/office/drawing/2014/main" id="{B9C6B567-A3DD-383B-5D53-39816E68874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Mastertitelformat bearbeiten</a:t>
            </a:r>
          </a:p>
        </p:txBody>
      </p:sp>
      <p:sp>
        <p:nvSpPr>
          <p:cNvPr id="2" name="Textplatzhalter 22">
            <a:extLst>
              <a:ext uri="{FF2B5EF4-FFF2-40B4-BE49-F238E27FC236}">
                <a16:creationId xmlns:a16="http://schemas.microsoft.com/office/drawing/2014/main" id="{4FD97F01-8991-8476-52EA-1023CB8F9AEA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1800000" y="1607882"/>
            <a:ext cx="9727659" cy="360000"/>
          </a:xfrm>
          <a:prstGeom prst="rect">
            <a:avLst/>
          </a:prstGeom>
        </p:spPr>
        <p:txBody>
          <a:bodyPr lIns="0" tIns="0" rIns="0" bIns="0" anchor="ctr">
            <a:normAutofit/>
          </a:bodyPr>
          <a:lstStyle>
            <a:lvl1pPr marL="0" indent="0" rtl="0">
              <a:buNone/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Click here to edit chapter title with the appropiate text</a:t>
            </a:r>
          </a:p>
        </p:txBody>
      </p:sp>
      <p:sp>
        <p:nvSpPr>
          <p:cNvPr id="4" name="Textplatzhalter 22">
            <a:extLst>
              <a:ext uri="{FF2B5EF4-FFF2-40B4-BE49-F238E27FC236}">
                <a16:creationId xmlns:a16="http://schemas.microsoft.com/office/drawing/2014/main" id="{5EFD14C4-45EE-5504-7E94-52BF73C16987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1800000" y="2345630"/>
            <a:ext cx="9727659" cy="360000"/>
          </a:xfrm>
          <a:prstGeom prst="rect">
            <a:avLst/>
          </a:prstGeom>
        </p:spPr>
        <p:txBody>
          <a:bodyPr lIns="0" tIns="0" rIns="0" bIns="0" anchor="ctr">
            <a:normAutofit/>
          </a:bodyPr>
          <a:lstStyle>
            <a:lvl1pPr marL="0" indent="0" rtl="0">
              <a:buNone/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Click here to edit chapter title with the appropiate text</a:t>
            </a:r>
          </a:p>
        </p:txBody>
      </p:sp>
      <p:sp>
        <p:nvSpPr>
          <p:cNvPr id="5" name="Textplatzhalter 22">
            <a:extLst>
              <a:ext uri="{FF2B5EF4-FFF2-40B4-BE49-F238E27FC236}">
                <a16:creationId xmlns:a16="http://schemas.microsoft.com/office/drawing/2014/main" id="{BA34C179-8D2F-19E1-475E-5262BE7848BE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1800000" y="3083378"/>
            <a:ext cx="9727659" cy="360000"/>
          </a:xfrm>
          <a:prstGeom prst="rect">
            <a:avLst/>
          </a:prstGeom>
        </p:spPr>
        <p:txBody>
          <a:bodyPr lIns="0" tIns="0" rIns="0" bIns="0" anchor="ctr">
            <a:normAutofit/>
          </a:bodyPr>
          <a:lstStyle>
            <a:lvl1pPr marL="0" indent="0" rtl="0">
              <a:buNone/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Click here to edit chapter title with the appropiate text</a:t>
            </a:r>
          </a:p>
        </p:txBody>
      </p:sp>
      <p:sp>
        <p:nvSpPr>
          <p:cNvPr id="6" name="Textplatzhalter 22">
            <a:extLst>
              <a:ext uri="{FF2B5EF4-FFF2-40B4-BE49-F238E27FC236}">
                <a16:creationId xmlns:a16="http://schemas.microsoft.com/office/drawing/2014/main" id="{AEE2AFB2-B973-3AA3-9FB0-534A5975DB87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1800000" y="3821126"/>
            <a:ext cx="9727659" cy="360000"/>
          </a:xfrm>
          <a:prstGeom prst="rect">
            <a:avLst/>
          </a:prstGeom>
        </p:spPr>
        <p:txBody>
          <a:bodyPr lIns="0" tIns="0" rIns="0" bIns="0" anchor="ctr">
            <a:normAutofit/>
          </a:bodyPr>
          <a:lstStyle>
            <a:lvl1pPr marL="0" indent="0" rtl="0">
              <a:buNone/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Click here to edit chapter title with the appropiate text</a:t>
            </a:r>
          </a:p>
        </p:txBody>
      </p:sp>
      <p:sp>
        <p:nvSpPr>
          <p:cNvPr id="10" name="Textplatzhalter 22">
            <a:extLst>
              <a:ext uri="{FF2B5EF4-FFF2-40B4-BE49-F238E27FC236}">
                <a16:creationId xmlns:a16="http://schemas.microsoft.com/office/drawing/2014/main" id="{82C7778B-3773-E643-B5AF-2CAC47EA2BEF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1800000" y="4558874"/>
            <a:ext cx="9727659" cy="360000"/>
          </a:xfrm>
          <a:prstGeom prst="rect">
            <a:avLst/>
          </a:prstGeom>
        </p:spPr>
        <p:txBody>
          <a:bodyPr lIns="0" tIns="0" rIns="0" bIns="0" anchor="ctr">
            <a:normAutofit/>
          </a:bodyPr>
          <a:lstStyle>
            <a:lvl1pPr marL="0" indent="0" rtl="0">
              <a:buNone/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Click here to edit chapter title with the appropiate text</a:t>
            </a:r>
          </a:p>
        </p:txBody>
      </p:sp>
      <p:sp>
        <p:nvSpPr>
          <p:cNvPr id="11" name="Textplatzhalter 22">
            <a:extLst>
              <a:ext uri="{FF2B5EF4-FFF2-40B4-BE49-F238E27FC236}">
                <a16:creationId xmlns:a16="http://schemas.microsoft.com/office/drawing/2014/main" id="{76C4961A-A220-29F5-5B2D-B56E0D2447A4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1800000" y="5296622"/>
            <a:ext cx="9727659" cy="360000"/>
          </a:xfrm>
          <a:prstGeom prst="rect">
            <a:avLst/>
          </a:prstGeom>
        </p:spPr>
        <p:txBody>
          <a:bodyPr lIns="0" tIns="0" rIns="0" bIns="0" anchor="ctr">
            <a:normAutofit/>
          </a:bodyPr>
          <a:lstStyle>
            <a:lvl1pPr marL="0" indent="0" rtl="0">
              <a:buNone/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Click here to edit chapter title with the appropiate text</a:t>
            </a:r>
          </a:p>
        </p:txBody>
      </p:sp>
      <p:cxnSp>
        <p:nvCxnSpPr>
          <p:cNvPr id="12" name="Gerade Verbindung 10">
            <a:extLst>
              <a:ext uri="{FF2B5EF4-FFF2-40B4-BE49-F238E27FC236}">
                <a16:creationId xmlns:a16="http://schemas.microsoft.com/office/drawing/2014/main" id="{048E41A8-056B-67A3-AE3B-70BB8DC62585}"/>
              </a:ext>
            </a:extLst>
          </p:cNvPr>
          <p:cNvCxnSpPr>
            <a:cxnSpLocks/>
          </p:cNvCxnSpPr>
          <p:nvPr userDrawn="1"/>
        </p:nvCxnSpPr>
        <p:spPr>
          <a:xfrm>
            <a:off x="479425" y="1524298"/>
            <a:ext cx="540000" cy="0"/>
          </a:xfrm>
          <a:prstGeom prst="line">
            <a:avLst/>
          </a:prstGeom>
          <a:ln w="254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 Verbindung 11">
            <a:extLst>
              <a:ext uri="{FF2B5EF4-FFF2-40B4-BE49-F238E27FC236}">
                <a16:creationId xmlns:a16="http://schemas.microsoft.com/office/drawing/2014/main" id="{77D9B00D-39CF-9D4A-182E-A6473C7D2A6F}"/>
              </a:ext>
            </a:extLst>
          </p:cNvPr>
          <p:cNvCxnSpPr>
            <a:cxnSpLocks/>
          </p:cNvCxnSpPr>
          <p:nvPr userDrawn="1"/>
        </p:nvCxnSpPr>
        <p:spPr>
          <a:xfrm>
            <a:off x="479425" y="1669881"/>
            <a:ext cx="540000" cy="0"/>
          </a:xfrm>
          <a:prstGeom prst="line">
            <a:avLst/>
          </a:prstGeom>
          <a:ln w="254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rade Verbindung 12">
            <a:extLst>
              <a:ext uri="{FF2B5EF4-FFF2-40B4-BE49-F238E27FC236}">
                <a16:creationId xmlns:a16="http://schemas.microsoft.com/office/drawing/2014/main" id="{CABB9250-D0AF-BD5F-5D37-D25CBD23DCDF}"/>
              </a:ext>
            </a:extLst>
          </p:cNvPr>
          <p:cNvCxnSpPr>
            <a:cxnSpLocks/>
          </p:cNvCxnSpPr>
          <p:nvPr userDrawn="1"/>
        </p:nvCxnSpPr>
        <p:spPr>
          <a:xfrm>
            <a:off x="479425" y="1815464"/>
            <a:ext cx="612000" cy="0"/>
          </a:xfrm>
          <a:prstGeom prst="line">
            <a:avLst/>
          </a:prstGeom>
          <a:ln w="254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 Verbindung 38">
            <a:extLst>
              <a:ext uri="{FF2B5EF4-FFF2-40B4-BE49-F238E27FC236}">
                <a16:creationId xmlns:a16="http://schemas.microsoft.com/office/drawing/2014/main" id="{72BD2FC9-0253-0AA2-BF95-B8DA338BC4AD}"/>
              </a:ext>
            </a:extLst>
          </p:cNvPr>
          <p:cNvCxnSpPr>
            <a:cxnSpLocks/>
          </p:cNvCxnSpPr>
          <p:nvPr userDrawn="1"/>
        </p:nvCxnSpPr>
        <p:spPr>
          <a:xfrm>
            <a:off x="479425" y="1961047"/>
            <a:ext cx="540000" cy="0"/>
          </a:xfrm>
          <a:prstGeom prst="line">
            <a:avLst/>
          </a:prstGeom>
          <a:ln w="254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Gerade Verbindung 39">
            <a:extLst>
              <a:ext uri="{FF2B5EF4-FFF2-40B4-BE49-F238E27FC236}">
                <a16:creationId xmlns:a16="http://schemas.microsoft.com/office/drawing/2014/main" id="{D49B95D5-FF21-FAFA-D409-3C5271929EFC}"/>
              </a:ext>
            </a:extLst>
          </p:cNvPr>
          <p:cNvCxnSpPr>
            <a:cxnSpLocks/>
          </p:cNvCxnSpPr>
          <p:nvPr userDrawn="1"/>
        </p:nvCxnSpPr>
        <p:spPr>
          <a:xfrm>
            <a:off x="479425" y="2106630"/>
            <a:ext cx="540000" cy="0"/>
          </a:xfrm>
          <a:prstGeom prst="line">
            <a:avLst/>
          </a:prstGeom>
          <a:ln w="254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Gerade Verbindung 40">
            <a:extLst>
              <a:ext uri="{FF2B5EF4-FFF2-40B4-BE49-F238E27FC236}">
                <a16:creationId xmlns:a16="http://schemas.microsoft.com/office/drawing/2014/main" id="{5A485468-CBE1-84E6-8A8D-5E8237F9056F}"/>
              </a:ext>
            </a:extLst>
          </p:cNvPr>
          <p:cNvCxnSpPr>
            <a:cxnSpLocks/>
          </p:cNvCxnSpPr>
          <p:nvPr userDrawn="1"/>
        </p:nvCxnSpPr>
        <p:spPr>
          <a:xfrm>
            <a:off x="479425" y="2252213"/>
            <a:ext cx="540000" cy="0"/>
          </a:xfrm>
          <a:prstGeom prst="line">
            <a:avLst/>
          </a:prstGeom>
          <a:ln w="254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 Verbindung 49">
            <a:extLst>
              <a:ext uri="{FF2B5EF4-FFF2-40B4-BE49-F238E27FC236}">
                <a16:creationId xmlns:a16="http://schemas.microsoft.com/office/drawing/2014/main" id="{AE9007DE-4214-02C7-D515-77E6FB6C5B66}"/>
              </a:ext>
            </a:extLst>
          </p:cNvPr>
          <p:cNvCxnSpPr>
            <a:cxnSpLocks/>
          </p:cNvCxnSpPr>
          <p:nvPr userDrawn="1"/>
        </p:nvCxnSpPr>
        <p:spPr>
          <a:xfrm>
            <a:off x="479425" y="2397796"/>
            <a:ext cx="540000" cy="0"/>
          </a:xfrm>
          <a:prstGeom prst="line">
            <a:avLst/>
          </a:prstGeom>
          <a:ln w="254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 Verbindung 50">
            <a:extLst>
              <a:ext uri="{FF2B5EF4-FFF2-40B4-BE49-F238E27FC236}">
                <a16:creationId xmlns:a16="http://schemas.microsoft.com/office/drawing/2014/main" id="{74E8E4F5-5014-A425-B458-F517F1C1EFE2}"/>
              </a:ext>
            </a:extLst>
          </p:cNvPr>
          <p:cNvCxnSpPr>
            <a:cxnSpLocks/>
          </p:cNvCxnSpPr>
          <p:nvPr userDrawn="1"/>
        </p:nvCxnSpPr>
        <p:spPr>
          <a:xfrm>
            <a:off x="479425" y="2543379"/>
            <a:ext cx="612000" cy="0"/>
          </a:xfrm>
          <a:prstGeom prst="line">
            <a:avLst/>
          </a:prstGeom>
          <a:ln w="254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Gerade Verbindung 51">
            <a:extLst>
              <a:ext uri="{FF2B5EF4-FFF2-40B4-BE49-F238E27FC236}">
                <a16:creationId xmlns:a16="http://schemas.microsoft.com/office/drawing/2014/main" id="{8FB24DBD-9934-733D-55CC-BB44884C4BFE}"/>
              </a:ext>
            </a:extLst>
          </p:cNvPr>
          <p:cNvCxnSpPr>
            <a:cxnSpLocks/>
          </p:cNvCxnSpPr>
          <p:nvPr userDrawn="1"/>
        </p:nvCxnSpPr>
        <p:spPr>
          <a:xfrm>
            <a:off x="479425" y="2688962"/>
            <a:ext cx="540000" cy="0"/>
          </a:xfrm>
          <a:prstGeom prst="line">
            <a:avLst/>
          </a:prstGeom>
          <a:ln w="254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Gerade Verbindung 52">
            <a:extLst>
              <a:ext uri="{FF2B5EF4-FFF2-40B4-BE49-F238E27FC236}">
                <a16:creationId xmlns:a16="http://schemas.microsoft.com/office/drawing/2014/main" id="{4C1F7AD6-D025-9F37-A0D9-46328705671C}"/>
              </a:ext>
            </a:extLst>
          </p:cNvPr>
          <p:cNvCxnSpPr>
            <a:cxnSpLocks/>
          </p:cNvCxnSpPr>
          <p:nvPr userDrawn="1"/>
        </p:nvCxnSpPr>
        <p:spPr>
          <a:xfrm>
            <a:off x="479425" y="2834545"/>
            <a:ext cx="540000" cy="0"/>
          </a:xfrm>
          <a:prstGeom prst="line">
            <a:avLst/>
          </a:prstGeom>
          <a:ln w="254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Gerade Verbindung 53">
            <a:extLst>
              <a:ext uri="{FF2B5EF4-FFF2-40B4-BE49-F238E27FC236}">
                <a16:creationId xmlns:a16="http://schemas.microsoft.com/office/drawing/2014/main" id="{FB8F5AD9-C12B-0E20-5037-C53B5B29F200}"/>
              </a:ext>
            </a:extLst>
          </p:cNvPr>
          <p:cNvCxnSpPr>
            <a:cxnSpLocks/>
          </p:cNvCxnSpPr>
          <p:nvPr userDrawn="1"/>
        </p:nvCxnSpPr>
        <p:spPr>
          <a:xfrm>
            <a:off x="479425" y="2980128"/>
            <a:ext cx="540000" cy="0"/>
          </a:xfrm>
          <a:prstGeom prst="line">
            <a:avLst/>
          </a:prstGeom>
          <a:ln w="254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Gerade Verbindung 54">
            <a:extLst>
              <a:ext uri="{FF2B5EF4-FFF2-40B4-BE49-F238E27FC236}">
                <a16:creationId xmlns:a16="http://schemas.microsoft.com/office/drawing/2014/main" id="{7F4C6D23-6798-1A39-BDC5-E2C5AAB56242}"/>
              </a:ext>
            </a:extLst>
          </p:cNvPr>
          <p:cNvCxnSpPr>
            <a:cxnSpLocks/>
          </p:cNvCxnSpPr>
          <p:nvPr userDrawn="1"/>
        </p:nvCxnSpPr>
        <p:spPr>
          <a:xfrm>
            <a:off x="479425" y="3125711"/>
            <a:ext cx="540000" cy="0"/>
          </a:xfrm>
          <a:prstGeom prst="line">
            <a:avLst/>
          </a:prstGeom>
          <a:ln w="254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Gerade Verbindung 55">
            <a:extLst>
              <a:ext uri="{FF2B5EF4-FFF2-40B4-BE49-F238E27FC236}">
                <a16:creationId xmlns:a16="http://schemas.microsoft.com/office/drawing/2014/main" id="{53406A94-7EAD-AC7E-58ED-59491933FEC4}"/>
              </a:ext>
            </a:extLst>
          </p:cNvPr>
          <p:cNvCxnSpPr>
            <a:cxnSpLocks/>
          </p:cNvCxnSpPr>
          <p:nvPr userDrawn="1"/>
        </p:nvCxnSpPr>
        <p:spPr>
          <a:xfrm>
            <a:off x="479425" y="3271294"/>
            <a:ext cx="612000" cy="0"/>
          </a:xfrm>
          <a:prstGeom prst="line">
            <a:avLst/>
          </a:prstGeom>
          <a:ln w="254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Gerade Verbindung 56">
            <a:extLst>
              <a:ext uri="{FF2B5EF4-FFF2-40B4-BE49-F238E27FC236}">
                <a16:creationId xmlns:a16="http://schemas.microsoft.com/office/drawing/2014/main" id="{ACF9E571-5ACF-A0C7-497F-5CEAE2BECAAB}"/>
              </a:ext>
            </a:extLst>
          </p:cNvPr>
          <p:cNvCxnSpPr>
            <a:cxnSpLocks/>
          </p:cNvCxnSpPr>
          <p:nvPr userDrawn="1"/>
        </p:nvCxnSpPr>
        <p:spPr>
          <a:xfrm>
            <a:off x="479425" y="3416877"/>
            <a:ext cx="540000" cy="0"/>
          </a:xfrm>
          <a:prstGeom prst="line">
            <a:avLst/>
          </a:prstGeom>
          <a:ln w="254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Gerade Verbindung 57">
            <a:extLst>
              <a:ext uri="{FF2B5EF4-FFF2-40B4-BE49-F238E27FC236}">
                <a16:creationId xmlns:a16="http://schemas.microsoft.com/office/drawing/2014/main" id="{2FD4EC0C-6E49-FBEC-A9F3-F35393013C93}"/>
              </a:ext>
            </a:extLst>
          </p:cNvPr>
          <p:cNvCxnSpPr>
            <a:cxnSpLocks/>
          </p:cNvCxnSpPr>
          <p:nvPr userDrawn="1"/>
        </p:nvCxnSpPr>
        <p:spPr>
          <a:xfrm>
            <a:off x="479425" y="3562460"/>
            <a:ext cx="540000" cy="0"/>
          </a:xfrm>
          <a:prstGeom prst="line">
            <a:avLst/>
          </a:prstGeom>
          <a:ln w="254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Gerade Verbindung 58">
            <a:extLst>
              <a:ext uri="{FF2B5EF4-FFF2-40B4-BE49-F238E27FC236}">
                <a16:creationId xmlns:a16="http://schemas.microsoft.com/office/drawing/2014/main" id="{5A35BD7A-D2B0-6427-557E-C8543912D9B2}"/>
              </a:ext>
            </a:extLst>
          </p:cNvPr>
          <p:cNvCxnSpPr>
            <a:cxnSpLocks/>
          </p:cNvCxnSpPr>
          <p:nvPr userDrawn="1"/>
        </p:nvCxnSpPr>
        <p:spPr>
          <a:xfrm>
            <a:off x="479425" y="3708043"/>
            <a:ext cx="540000" cy="0"/>
          </a:xfrm>
          <a:prstGeom prst="line">
            <a:avLst/>
          </a:prstGeom>
          <a:ln w="254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Gerade Verbindung 59">
            <a:extLst>
              <a:ext uri="{FF2B5EF4-FFF2-40B4-BE49-F238E27FC236}">
                <a16:creationId xmlns:a16="http://schemas.microsoft.com/office/drawing/2014/main" id="{5723F194-1201-A41F-ACD9-6926DB727F84}"/>
              </a:ext>
            </a:extLst>
          </p:cNvPr>
          <p:cNvCxnSpPr>
            <a:cxnSpLocks/>
          </p:cNvCxnSpPr>
          <p:nvPr userDrawn="1"/>
        </p:nvCxnSpPr>
        <p:spPr>
          <a:xfrm>
            <a:off x="479425" y="3853626"/>
            <a:ext cx="540000" cy="0"/>
          </a:xfrm>
          <a:prstGeom prst="line">
            <a:avLst/>
          </a:prstGeom>
          <a:ln w="254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Gerade Verbindung 60">
            <a:extLst>
              <a:ext uri="{FF2B5EF4-FFF2-40B4-BE49-F238E27FC236}">
                <a16:creationId xmlns:a16="http://schemas.microsoft.com/office/drawing/2014/main" id="{B0906E4E-4BEA-0A4E-73ED-A62C5F9EAABF}"/>
              </a:ext>
            </a:extLst>
          </p:cNvPr>
          <p:cNvCxnSpPr>
            <a:cxnSpLocks/>
          </p:cNvCxnSpPr>
          <p:nvPr userDrawn="1"/>
        </p:nvCxnSpPr>
        <p:spPr>
          <a:xfrm>
            <a:off x="479425" y="3999209"/>
            <a:ext cx="612000" cy="0"/>
          </a:xfrm>
          <a:prstGeom prst="line">
            <a:avLst/>
          </a:prstGeom>
          <a:ln w="254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Gerade Verbindung 61">
            <a:extLst>
              <a:ext uri="{FF2B5EF4-FFF2-40B4-BE49-F238E27FC236}">
                <a16:creationId xmlns:a16="http://schemas.microsoft.com/office/drawing/2014/main" id="{9DFBC9B9-7688-3627-3709-BFC198DB0BB2}"/>
              </a:ext>
            </a:extLst>
          </p:cNvPr>
          <p:cNvCxnSpPr>
            <a:cxnSpLocks/>
          </p:cNvCxnSpPr>
          <p:nvPr userDrawn="1"/>
        </p:nvCxnSpPr>
        <p:spPr>
          <a:xfrm>
            <a:off x="479425" y="4144792"/>
            <a:ext cx="540000" cy="0"/>
          </a:xfrm>
          <a:prstGeom prst="line">
            <a:avLst/>
          </a:prstGeom>
          <a:ln w="254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Gerade Verbindung 62">
            <a:extLst>
              <a:ext uri="{FF2B5EF4-FFF2-40B4-BE49-F238E27FC236}">
                <a16:creationId xmlns:a16="http://schemas.microsoft.com/office/drawing/2014/main" id="{3EE9DFA6-6FCE-E187-C091-AA009C683A84}"/>
              </a:ext>
            </a:extLst>
          </p:cNvPr>
          <p:cNvCxnSpPr>
            <a:cxnSpLocks/>
          </p:cNvCxnSpPr>
          <p:nvPr userDrawn="1"/>
        </p:nvCxnSpPr>
        <p:spPr>
          <a:xfrm>
            <a:off x="479425" y="4290375"/>
            <a:ext cx="540000" cy="0"/>
          </a:xfrm>
          <a:prstGeom prst="line">
            <a:avLst/>
          </a:prstGeom>
          <a:ln w="254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Gerade Verbindung 67">
            <a:extLst>
              <a:ext uri="{FF2B5EF4-FFF2-40B4-BE49-F238E27FC236}">
                <a16:creationId xmlns:a16="http://schemas.microsoft.com/office/drawing/2014/main" id="{169D446B-197B-E8E4-C4B8-6B9270531177}"/>
              </a:ext>
            </a:extLst>
          </p:cNvPr>
          <p:cNvCxnSpPr>
            <a:cxnSpLocks/>
          </p:cNvCxnSpPr>
          <p:nvPr userDrawn="1"/>
        </p:nvCxnSpPr>
        <p:spPr>
          <a:xfrm>
            <a:off x="479425" y="4435958"/>
            <a:ext cx="540000" cy="0"/>
          </a:xfrm>
          <a:prstGeom prst="line">
            <a:avLst/>
          </a:prstGeom>
          <a:ln w="254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Gerade Verbindung 68">
            <a:extLst>
              <a:ext uri="{FF2B5EF4-FFF2-40B4-BE49-F238E27FC236}">
                <a16:creationId xmlns:a16="http://schemas.microsoft.com/office/drawing/2014/main" id="{6E0B7851-F7B8-B03C-5C36-A930577B1990}"/>
              </a:ext>
            </a:extLst>
          </p:cNvPr>
          <p:cNvCxnSpPr>
            <a:cxnSpLocks/>
          </p:cNvCxnSpPr>
          <p:nvPr userDrawn="1"/>
        </p:nvCxnSpPr>
        <p:spPr>
          <a:xfrm>
            <a:off x="479425" y="4581541"/>
            <a:ext cx="540000" cy="0"/>
          </a:xfrm>
          <a:prstGeom prst="line">
            <a:avLst/>
          </a:prstGeom>
          <a:ln w="254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Gerade Verbindung 69">
            <a:extLst>
              <a:ext uri="{FF2B5EF4-FFF2-40B4-BE49-F238E27FC236}">
                <a16:creationId xmlns:a16="http://schemas.microsoft.com/office/drawing/2014/main" id="{0C8E6F93-2B36-5905-602F-AD78AE860C91}"/>
              </a:ext>
            </a:extLst>
          </p:cNvPr>
          <p:cNvCxnSpPr>
            <a:cxnSpLocks/>
          </p:cNvCxnSpPr>
          <p:nvPr userDrawn="1"/>
        </p:nvCxnSpPr>
        <p:spPr>
          <a:xfrm>
            <a:off x="479425" y="4727124"/>
            <a:ext cx="612000" cy="0"/>
          </a:xfrm>
          <a:prstGeom prst="line">
            <a:avLst/>
          </a:prstGeom>
          <a:ln w="254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Gerade Verbindung 70">
            <a:extLst>
              <a:ext uri="{FF2B5EF4-FFF2-40B4-BE49-F238E27FC236}">
                <a16:creationId xmlns:a16="http://schemas.microsoft.com/office/drawing/2014/main" id="{37529014-D070-0403-0AE3-F5B48030A0E4}"/>
              </a:ext>
            </a:extLst>
          </p:cNvPr>
          <p:cNvCxnSpPr>
            <a:cxnSpLocks/>
          </p:cNvCxnSpPr>
          <p:nvPr userDrawn="1"/>
        </p:nvCxnSpPr>
        <p:spPr>
          <a:xfrm>
            <a:off x="479425" y="4872707"/>
            <a:ext cx="540000" cy="0"/>
          </a:xfrm>
          <a:prstGeom prst="line">
            <a:avLst/>
          </a:prstGeom>
          <a:ln w="254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Gerade Verbindung 71">
            <a:extLst>
              <a:ext uri="{FF2B5EF4-FFF2-40B4-BE49-F238E27FC236}">
                <a16:creationId xmlns:a16="http://schemas.microsoft.com/office/drawing/2014/main" id="{06302699-CCAD-14A4-F629-AB01351BB940}"/>
              </a:ext>
            </a:extLst>
          </p:cNvPr>
          <p:cNvCxnSpPr>
            <a:cxnSpLocks/>
          </p:cNvCxnSpPr>
          <p:nvPr userDrawn="1"/>
        </p:nvCxnSpPr>
        <p:spPr>
          <a:xfrm>
            <a:off x="479425" y="5018290"/>
            <a:ext cx="540000" cy="0"/>
          </a:xfrm>
          <a:prstGeom prst="line">
            <a:avLst/>
          </a:prstGeom>
          <a:ln w="254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Gerade Verbindung 72">
            <a:extLst>
              <a:ext uri="{FF2B5EF4-FFF2-40B4-BE49-F238E27FC236}">
                <a16:creationId xmlns:a16="http://schemas.microsoft.com/office/drawing/2014/main" id="{955332B1-5AAE-C76A-F8B3-FF82D585B821}"/>
              </a:ext>
            </a:extLst>
          </p:cNvPr>
          <p:cNvCxnSpPr>
            <a:cxnSpLocks/>
          </p:cNvCxnSpPr>
          <p:nvPr userDrawn="1"/>
        </p:nvCxnSpPr>
        <p:spPr>
          <a:xfrm>
            <a:off x="479425" y="5163873"/>
            <a:ext cx="540000" cy="0"/>
          </a:xfrm>
          <a:prstGeom prst="line">
            <a:avLst/>
          </a:prstGeom>
          <a:ln w="254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Gerade Verbindung 73">
            <a:extLst>
              <a:ext uri="{FF2B5EF4-FFF2-40B4-BE49-F238E27FC236}">
                <a16:creationId xmlns:a16="http://schemas.microsoft.com/office/drawing/2014/main" id="{B81807EF-C0CF-37C3-FF37-68E3262AA91D}"/>
              </a:ext>
            </a:extLst>
          </p:cNvPr>
          <p:cNvCxnSpPr>
            <a:cxnSpLocks/>
          </p:cNvCxnSpPr>
          <p:nvPr userDrawn="1"/>
        </p:nvCxnSpPr>
        <p:spPr>
          <a:xfrm>
            <a:off x="479425" y="5309456"/>
            <a:ext cx="540000" cy="0"/>
          </a:xfrm>
          <a:prstGeom prst="line">
            <a:avLst/>
          </a:prstGeom>
          <a:ln w="254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Gerade Verbindung 74">
            <a:extLst>
              <a:ext uri="{FF2B5EF4-FFF2-40B4-BE49-F238E27FC236}">
                <a16:creationId xmlns:a16="http://schemas.microsoft.com/office/drawing/2014/main" id="{C2B1CA07-82B7-94E6-D504-8652592BC77B}"/>
              </a:ext>
            </a:extLst>
          </p:cNvPr>
          <p:cNvCxnSpPr>
            <a:cxnSpLocks/>
          </p:cNvCxnSpPr>
          <p:nvPr userDrawn="1"/>
        </p:nvCxnSpPr>
        <p:spPr>
          <a:xfrm>
            <a:off x="479425" y="5455039"/>
            <a:ext cx="612000" cy="0"/>
          </a:xfrm>
          <a:prstGeom prst="line">
            <a:avLst/>
          </a:prstGeom>
          <a:ln w="254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Gerade Verbindung 75">
            <a:extLst>
              <a:ext uri="{FF2B5EF4-FFF2-40B4-BE49-F238E27FC236}">
                <a16:creationId xmlns:a16="http://schemas.microsoft.com/office/drawing/2014/main" id="{E20FEDB6-1966-6896-4E59-7421D7E04F0F}"/>
              </a:ext>
            </a:extLst>
          </p:cNvPr>
          <p:cNvCxnSpPr>
            <a:cxnSpLocks/>
          </p:cNvCxnSpPr>
          <p:nvPr userDrawn="1"/>
        </p:nvCxnSpPr>
        <p:spPr>
          <a:xfrm>
            <a:off x="479425" y="5600622"/>
            <a:ext cx="540000" cy="0"/>
          </a:xfrm>
          <a:prstGeom prst="line">
            <a:avLst/>
          </a:prstGeom>
          <a:ln w="254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Gerade Verbindung 76">
            <a:extLst>
              <a:ext uri="{FF2B5EF4-FFF2-40B4-BE49-F238E27FC236}">
                <a16:creationId xmlns:a16="http://schemas.microsoft.com/office/drawing/2014/main" id="{DEA6FB98-3799-B5ED-E790-548FC83FCE1E}"/>
              </a:ext>
            </a:extLst>
          </p:cNvPr>
          <p:cNvCxnSpPr>
            <a:cxnSpLocks/>
          </p:cNvCxnSpPr>
          <p:nvPr userDrawn="1"/>
        </p:nvCxnSpPr>
        <p:spPr>
          <a:xfrm>
            <a:off x="479425" y="5746205"/>
            <a:ext cx="540000" cy="0"/>
          </a:xfrm>
          <a:prstGeom prst="line">
            <a:avLst/>
          </a:prstGeom>
          <a:ln w="254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Gerade Verbindung 10">
            <a:extLst>
              <a:ext uri="{FF2B5EF4-FFF2-40B4-BE49-F238E27FC236}">
                <a16:creationId xmlns:a16="http://schemas.microsoft.com/office/drawing/2014/main" id="{A967CE3D-3AB3-D1E8-4F7B-443EDC39D03A}"/>
              </a:ext>
            </a:extLst>
          </p:cNvPr>
          <p:cNvCxnSpPr>
            <a:cxnSpLocks/>
          </p:cNvCxnSpPr>
          <p:nvPr userDrawn="1"/>
        </p:nvCxnSpPr>
        <p:spPr>
          <a:xfrm>
            <a:off x="478800" y="1230134"/>
            <a:ext cx="540000" cy="0"/>
          </a:xfrm>
          <a:prstGeom prst="line">
            <a:avLst/>
          </a:prstGeom>
          <a:ln w="254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Gerade Verbindung 11">
            <a:extLst>
              <a:ext uri="{FF2B5EF4-FFF2-40B4-BE49-F238E27FC236}">
                <a16:creationId xmlns:a16="http://schemas.microsoft.com/office/drawing/2014/main" id="{D6D4AFB2-BF56-8827-9501-E6E73DE1D508}"/>
              </a:ext>
            </a:extLst>
          </p:cNvPr>
          <p:cNvCxnSpPr>
            <a:cxnSpLocks/>
          </p:cNvCxnSpPr>
          <p:nvPr userDrawn="1"/>
        </p:nvCxnSpPr>
        <p:spPr>
          <a:xfrm>
            <a:off x="478800" y="1378715"/>
            <a:ext cx="540000" cy="0"/>
          </a:xfrm>
          <a:prstGeom prst="line">
            <a:avLst/>
          </a:prstGeom>
          <a:ln w="254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Gerade Verbindung 75">
            <a:extLst>
              <a:ext uri="{FF2B5EF4-FFF2-40B4-BE49-F238E27FC236}">
                <a16:creationId xmlns:a16="http://schemas.microsoft.com/office/drawing/2014/main" id="{A677B47C-279E-34C6-CA11-9C0A4D1E9BBB}"/>
              </a:ext>
            </a:extLst>
          </p:cNvPr>
          <p:cNvCxnSpPr>
            <a:cxnSpLocks/>
          </p:cNvCxnSpPr>
          <p:nvPr userDrawn="1"/>
        </p:nvCxnSpPr>
        <p:spPr>
          <a:xfrm>
            <a:off x="478800" y="5891788"/>
            <a:ext cx="540000" cy="0"/>
          </a:xfrm>
          <a:prstGeom prst="line">
            <a:avLst/>
          </a:prstGeom>
          <a:ln w="254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Gerade Verbindung 76">
            <a:extLst>
              <a:ext uri="{FF2B5EF4-FFF2-40B4-BE49-F238E27FC236}">
                <a16:creationId xmlns:a16="http://schemas.microsoft.com/office/drawing/2014/main" id="{9942370D-349D-6654-E03F-DACCA1146F4A}"/>
              </a:ext>
            </a:extLst>
          </p:cNvPr>
          <p:cNvCxnSpPr>
            <a:cxnSpLocks/>
          </p:cNvCxnSpPr>
          <p:nvPr userDrawn="1"/>
        </p:nvCxnSpPr>
        <p:spPr>
          <a:xfrm>
            <a:off x="478800" y="6034373"/>
            <a:ext cx="540000" cy="0"/>
          </a:xfrm>
          <a:prstGeom prst="line">
            <a:avLst/>
          </a:prstGeom>
          <a:ln w="254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2" name="Gruppieren 61">
            <a:extLst>
              <a:ext uri="{FF2B5EF4-FFF2-40B4-BE49-F238E27FC236}">
                <a16:creationId xmlns:a16="http://schemas.microsoft.com/office/drawing/2014/main" id="{E8BCD61A-60CA-E778-8FAF-D84C70AC0469}"/>
              </a:ext>
            </a:extLst>
          </p:cNvPr>
          <p:cNvGrpSpPr/>
          <p:nvPr userDrawn="1"/>
        </p:nvGrpSpPr>
        <p:grpSpPr>
          <a:xfrm>
            <a:off x="10240056" y="367378"/>
            <a:ext cx="1472671" cy="212964"/>
            <a:chOff x="10240056" y="330434"/>
            <a:chExt cx="1472671" cy="212964"/>
          </a:xfrm>
        </p:grpSpPr>
        <p:sp>
          <p:nvSpPr>
            <p:cNvPr id="63" name="Freihandform: Form 7">
              <a:extLst>
                <a:ext uri="{FF2B5EF4-FFF2-40B4-BE49-F238E27FC236}">
                  <a16:creationId xmlns:a16="http://schemas.microsoft.com/office/drawing/2014/main" id="{5CEBBD40-7D4F-BBE2-9520-8DCB1C62183A}"/>
                </a:ext>
              </a:extLst>
            </p:cNvPr>
            <p:cNvSpPr/>
            <p:nvPr/>
          </p:nvSpPr>
          <p:spPr>
            <a:xfrm>
              <a:off x="10602134" y="335724"/>
              <a:ext cx="213948" cy="204724"/>
            </a:xfrm>
            <a:custGeom>
              <a:avLst/>
              <a:gdLst>
                <a:gd name="connsiteX0" fmla="*/ 160491 w 213948"/>
                <a:gd name="connsiteY0" fmla="*/ 14175 h 204724"/>
                <a:gd name="connsiteX1" fmla="*/ 163136 w 213948"/>
                <a:gd name="connsiteY1" fmla="*/ 14327 h 204724"/>
                <a:gd name="connsiteX2" fmla="*/ 176854 w 213948"/>
                <a:gd name="connsiteY2" fmla="*/ 36064 h 204724"/>
                <a:gd name="connsiteX3" fmla="*/ 176854 w 213948"/>
                <a:gd name="connsiteY3" fmla="*/ 144712 h 204724"/>
                <a:gd name="connsiteX4" fmla="*/ 49408 w 213948"/>
                <a:gd name="connsiteY4" fmla="*/ 0 h 204724"/>
                <a:gd name="connsiteX5" fmla="*/ 4834 w 213948"/>
                <a:gd name="connsiteY5" fmla="*/ 0 h 204724"/>
                <a:gd name="connsiteX6" fmla="*/ 4834 w 213948"/>
                <a:gd name="connsiteY6" fmla="*/ 13894 h 204724"/>
                <a:gd name="connsiteX7" fmla="*/ 7292 w 213948"/>
                <a:gd name="connsiteY7" fmla="*/ 14140 h 204724"/>
                <a:gd name="connsiteX8" fmla="*/ 16727 w 213948"/>
                <a:gd name="connsiteY8" fmla="*/ 21163 h 204724"/>
                <a:gd name="connsiteX9" fmla="*/ 16727 w 213948"/>
                <a:gd name="connsiteY9" fmla="*/ 164821 h 204724"/>
                <a:gd name="connsiteX10" fmla="*/ 2681 w 213948"/>
                <a:gd name="connsiteY10" fmla="*/ 188372 h 204724"/>
                <a:gd name="connsiteX11" fmla="*/ 0 w 213948"/>
                <a:gd name="connsiteY11" fmla="*/ 188513 h 204724"/>
                <a:gd name="connsiteX12" fmla="*/ 0 w 213948"/>
                <a:gd name="connsiteY12" fmla="*/ 202559 h 204724"/>
                <a:gd name="connsiteX13" fmla="*/ 54523 w 213948"/>
                <a:gd name="connsiteY13" fmla="*/ 202559 h 204724"/>
                <a:gd name="connsiteX14" fmla="*/ 54523 w 213948"/>
                <a:gd name="connsiteY14" fmla="*/ 188665 h 204724"/>
                <a:gd name="connsiteX15" fmla="*/ 51936 w 213948"/>
                <a:gd name="connsiteY15" fmla="*/ 188466 h 204724"/>
                <a:gd name="connsiteX16" fmla="*/ 38580 w 213948"/>
                <a:gd name="connsiteY16" fmla="*/ 162457 h 204724"/>
                <a:gd name="connsiteX17" fmla="*/ 38580 w 213948"/>
                <a:gd name="connsiteY17" fmla="*/ 46048 h 204724"/>
                <a:gd name="connsiteX18" fmla="*/ 177873 w 213948"/>
                <a:gd name="connsiteY18" fmla="*/ 203776 h 204724"/>
                <a:gd name="connsiteX19" fmla="*/ 178716 w 213948"/>
                <a:gd name="connsiteY19" fmla="*/ 204724 h 204724"/>
                <a:gd name="connsiteX20" fmla="*/ 198708 w 213948"/>
                <a:gd name="connsiteY20" fmla="*/ 204724 h 204724"/>
                <a:gd name="connsiteX21" fmla="*/ 198708 w 213948"/>
                <a:gd name="connsiteY21" fmla="*/ 39271 h 204724"/>
                <a:gd name="connsiteX22" fmla="*/ 211373 w 213948"/>
                <a:gd name="connsiteY22" fmla="*/ 14421 h 204724"/>
                <a:gd name="connsiteX23" fmla="*/ 213948 w 213948"/>
                <a:gd name="connsiteY23" fmla="*/ 14198 h 204724"/>
                <a:gd name="connsiteX24" fmla="*/ 213948 w 213948"/>
                <a:gd name="connsiteY24" fmla="*/ 0 h 204724"/>
                <a:gd name="connsiteX25" fmla="*/ 160491 w 213948"/>
                <a:gd name="connsiteY25" fmla="*/ 0 h 2047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213948" h="204724">
                  <a:moveTo>
                    <a:pt x="160491" y="14175"/>
                  </a:moveTo>
                  <a:lnTo>
                    <a:pt x="163136" y="14327"/>
                  </a:lnTo>
                  <a:cubicBezTo>
                    <a:pt x="176878" y="15111"/>
                    <a:pt x="176878" y="17909"/>
                    <a:pt x="176854" y="36064"/>
                  </a:cubicBezTo>
                  <a:lnTo>
                    <a:pt x="176854" y="144712"/>
                  </a:lnTo>
                  <a:lnTo>
                    <a:pt x="49408" y="0"/>
                  </a:lnTo>
                  <a:lnTo>
                    <a:pt x="4834" y="0"/>
                  </a:lnTo>
                  <a:lnTo>
                    <a:pt x="4834" y="13894"/>
                  </a:lnTo>
                  <a:lnTo>
                    <a:pt x="7292" y="14140"/>
                  </a:lnTo>
                  <a:cubicBezTo>
                    <a:pt x="14655" y="14643"/>
                    <a:pt x="16586" y="17101"/>
                    <a:pt x="16727" y="21163"/>
                  </a:cubicBezTo>
                  <a:lnTo>
                    <a:pt x="16727" y="164821"/>
                  </a:lnTo>
                  <a:cubicBezTo>
                    <a:pt x="16727" y="182882"/>
                    <a:pt x="16727" y="187728"/>
                    <a:pt x="2681" y="188372"/>
                  </a:cubicBezTo>
                  <a:lnTo>
                    <a:pt x="0" y="188513"/>
                  </a:lnTo>
                  <a:lnTo>
                    <a:pt x="0" y="202559"/>
                  </a:lnTo>
                  <a:lnTo>
                    <a:pt x="54523" y="202559"/>
                  </a:lnTo>
                  <a:lnTo>
                    <a:pt x="54523" y="188665"/>
                  </a:lnTo>
                  <a:lnTo>
                    <a:pt x="51936" y="188466"/>
                  </a:lnTo>
                  <a:cubicBezTo>
                    <a:pt x="38557" y="187424"/>
                    <a:pt x="38569" y="182145"/>
                    <a:pt x="38580" y="162457"/>
                  </a:cubicBezTo>
                  <a:lnTo>
                    <a:pt x="38580" y="46048"/>
                  </a:lnTo>
                  <a:lnTo>
                    <a:pt x="177873" y="203776"/>
                  </a:lnTo>
                  <a:lnTo>
                    <a:pt x="178716" y="204724"/>
                  </a:lnTo>
                  <a:lnTo>
                    <a:pt x="198708" y="204724"/>
                  </a:lnTo>
                  <a:lnTo>
                    <a:pt x="198708" y="39271"/>
                  </a:lnTo>
                  <a:cubicBezTo>
                    <a:pt x="198708" y="19080"/>
                    <a:pt x="199797" y="15521"/>
                    <a:pt x="211373" y="14421"/>
                  </a:cubicBezTo>
                  <a:lnTo>
                    <a:pt x="213948" y="14198"/>
                  </a:lnTo>
                  <a:lnTo>
                    <a:pt x="213948" y="0"/>
                  </a:lnTo>
                  <a:lnTo>
                    <a:pt x="160491" y="0"/>
                  </a:ln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4" name="Freihandform: Form 8">
              <a:extLst>
                <a:ext uri="{FF2B5EF4-FFF2-40B4-BE49-F238E27FC236}">
                  <a16:creationId xmlns:a16="http://schemas.microsoft.com/office/drawing/2014/main" id="{84E06951-BDC1-7169-A1B1-A8C52C39513D}"/>
                </a:ext>
              </a:extLst>
            </p:cNvPr>
            <p:cNvSpPr/>
            <p:nvPr/>
          </p:nvSpPr>
          <p:spPr>
            <a:xfrm>
              <a:off x="10240056" y="330434"/>
              <a:ext cx="150166" cy="212964"/>
            </a:xfrm>
            <a:custGeom>
              <a:avLst/>
              <a:gdLst>
                <a:gd name="connsiteX0" fmla="*/ 87918 w 150166"/>
                <a:gd name="connsiteY0" fmla="*/ 86267 h 212964"/>
                <a:gd name="connsiteX1" fmla="*/ 87918 w 150166"/>
                <a:gd name="connsiteY1" fmla="*/ 86267 h 212964"/>
                <a:gd name="connsiteX2" fmla="*/ 43309 w 150166"/>
                <a:gd name="connsiteY2" fmla="*/ 46282 h 212964"/>
                <a:gd name="connsiteX3" fmla="*/ 73427 w 150166"/>
                <a:gd name="connsiteY3" fmla="*/ 17078 h 212964"/>
                <a:gd name="connsiteX4" fmla="*/ 120248 w 150166"/>
                <a:gd name="connsiteY4" fmla="*/ 39739 h 212964"/>
                <a:gd name="connsiteX5" fmla="*/ 121032 w 150166"/>
                <a:gd name="connsiteY5" fmla="*/ 41331 h 212964"/>
                <a:gd name="connsiteX6" fmla="*/ 136109 w 150166"/>
                <a:gd name="connsiteY6" fmla="*/ 41167 h 212964"/>
                <a:gd name="connsiteX7" fmla="*/ 129589 w 150166"/>
                <a:gd name="connsiteY7" fmla="*/ 3078 h 212964"/>
                <a:gd name="connsiteX8" fmla="*/ 120026 w 150166"/>
                <a:gd name="connsiteY8" fmla="*/ 3078 h 212964"/>
                <a:gd name="connsiteX9" fmla="*/ 118551 w 150166"/>
                <a:gd name="connsiteY9" fmla="*/ 3746 h 212964"/>
                <a:gd name="connsiteX10" fmla="*/ 110977 w 150166"/>
                <a:gd name="connsiteY10" fmla="*/ 5384 h 212964"/>
                <a:gd name="connsiteX11" fmla="*/ 101438 w 150166"/>
                <a:gd name="connsiteY11" fmla="*/ 3804 h 212964"/>
                <a:gd name="connsiteX12" fmla="*/ 95807 w 150166"/>
                <a:gd name="connsiteY12" fmla="*/ 2634 h 212964"/>
                <a:gd name="connsiteX13" fmla="*/ 69412 w 150166"/>
                <a:gd name="connsiteY13" fmla="*/ 0 h 212964"/>
                <a:gd name="connsiteX14" fmla="*/ 5103 w 150166"/>
                <a:gd name="connsiteY14" fmla="*/ 55096 h 212964"/>
                <a:gd name="connsiteX15" fmla="*/ 63817 w 150166"/>
                <a:gd name="connsiteY15" fmla="*/ 117415 h 212964"/>
                <a:gd name="connsiteX16" fmla="*/ 110966 w 150166"/>
                <a:gd name="connsiteY16" fmla="*/ 162094 h 212964"/>
                <a:gd name="connsiteX17" fmla="*/ 72093 w 150166"/>
                <a:gd name="connsiteY17" fmla="*/ 193944 h 212964"/>
                <a:gd name="connsiteX18" fmla="*/ 15030 w 150166"/>
                <a:gd name="connsiteY18" fmla="*/ 167174 h 212964"/>
                <a:gd name="connsiteX19" fmla="*/ 14327 w 150166"/>
                <a:gd name="connsiteY19" fmla="*/ 165418 h 212964"/>
                <a:gd name="connsiteX20" fmla="*/ 0 w 150166"/>
                <a:gd name="connsiteY20" fmla="*/ 165418 h 212964"/>
                <a:gd name="connsiteX21" fmla="*/ 6368 w 150166"/>
                <a:gd name="connsiteY21" fmla="*/ 208283 h 212964"/>
                <a:gd name="connsiteX22" fmla="*/ 17932 w 150166"/>
                <a:gd name="connsiteY22" fmla="*/ 208283 h 212964"/>
                <a:gd name="connsiteX23" fmla="*/ 18740 w 150166"/>
                <a:gd name="connsiteY23" fmla="*/ 207510 h 212964"/>
                <a:gd name="connsiteX24" fmla="*/ 25997 w 150166"/>
                <a:gd name="connsiteY24" fmla="*/ 205895 h 212964"/>
                <a:gd name="connsiteX25" fmla="*/ 38393 w 150166"/>
                <a:gd name="connsiteY25" fmla="*/ 208107 h 212964"/>
                <a:gd name="connsiteX26" fmla="*/ 74445 w 150166"/>
                <a:gd name="connsiteY26" fmla="*/ 212965 h 212964"/>
                <a:gd name="connsiteX27" fmla="*/ 150167 w 150166"/>
                <a:gd name="connsiteY27" fmla="*/ 152648 h 212964"/>
                <a:gd name="connsiteX28" fmla="*/ 87930 w 150166"/>
                <a:gd name="connsiteY28" fmla="*/ 86267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150166" h="212964">
                  <a:moveTo>
                    <a:pt x="87918" y="86267"/>
                  </a:moveTo>
                  <a:lnTo>
                    <a:pt x="87918" y="86267"/>
                  </a:lnTo>
                  <a:cubicBezTo>
                    <a:pt x="64976" y="74750"/>
                    <a:pt x="43309" y="63864"/>
                    <a:pt x="43309" y="46282"/>
                  </a:cubicBezTo>
                  <a:cubicBezTo>
                    <a:pt x="43309" y="34507"/>
                    <a:pt x="52884" y="17078"/>
                    <a:pt x="73427" y="17078"/>
                  </a:cubicBezTo>
                  <a:cubicBezTo>
                    <a:pt x="97142" y="17078"/>
                    <a:pt x="111305" y="23574"/>
                    <a:pt x="120248" y="39739"/>
                  </a:cubicBezTo>
                  <a:lnTo>
                    <a:pt x="121032" y="41331"/>
                  </a:lnTo>
                  <a:lnTo>
                    <a:pt x="136109" y="41167"/>
                  </a:lnTo>
                  <a:lnTo>
                    <a:pt x="129589" y="3078"/>
                  </a:lnTo>
                  <a:lnTo>
                    <a:pt x="120026" y="3078"/>
                  </a:lnTo>
                  <a:lnTo>
                    <a:pt x="118551" y="3746"/>
                  </a:lnTo>
                  <a:cubicBezTo>
                    <a:pt x="116205" y="4922"/>
                    <a:pt x="113600" y="5486"/>
                    <a:pt x="110977" y="5384"/>
                  </a:cubicBezTo>
                  <a:cubicBezTo>
                    <a:pt x="106998" y="5232"/>
                    <a:pt x="105242" y="4577"/>
                    <a:pt x="101438" y="3804"/>
                  </a:cubicBezTo>
                  <a:cubicBezTo>
                    <a:pt x="99822" y="3465"/>
                    <a:pt x="98031" y="3008"/>
                    <a:pt x="95807" y="2634"/>
                  </a:cubicBezTo>
                  <a:cubicBezTo>
                    <a:pt x="87117" y="890"/>
                    <a:pt x="78276" y="8"/>
                    <a:pt x="69412" y="0"/>
                  </a:cubicBezTo>
                  <a:cubicBezTo>
                    <a:pt x="33945" y="0"/>
                    <a:pt x="5103" y="24710"/>
                    <a:pt x="5103" y="55096"/>
                  </a:cubicBezTo>
                  <a:cubicBezTo>
                    <a:pt x="5103" y="85846"/>
                    <a:pt x="34952" y="101917"/>
                    <a:pt x="63817" y="117415"/>
                  </a:cubicBezTo>
                  <a:cubicBezTo>
                    <a:pt x="88059" y="130455"/>
                    <a:pt x="110966" y="142804"/>
                    <a:pt x="110966" y="162094"/>
                  </a:cubicBezTo>
                  <a:cubicBezTo>
                    <a:pt x="110966" y="180249"/>
                    <a:pt x="94251" y="193944"/>
                    <a:pt x="72093" y="193944"/>
                  </a:cubicBezTo>
                  <a:cubicBezTo>
                    <a:pt x="41799" y="193944"/>
                    <a:pt x="23130" y="185177"/>
                    <a:pt x="15030" y="167174"/>
                  </a:cubicBezTo>
                  <a:lnTo>
                    <a:pt x="14327" y="165418"/>
                  </a:lnTo>
                  <a:lnTo>
                    <a:pt x="0" y="165418"/>
                  </a:lnTo>
                  <a:lnTo>
                    <a:pt x="6368" y="208283"/>
                  </a:lnTo>
                  <a:lnTo>
                    <a:pt x="17932" y="208283"/>
                  </a:lnTo>
                  <a:lnTo>
                    <a:pt x="18740" y="207510"/>
                  </a:lnTo>
                  <a:cubicBezTo>
                    <a:pt x="20461" y="205965"/>
                    <a:pt x="22603" y="205860"/>
                    <a:pt x="25997" y="205895"/>
                  </a:cubicBezTo>
                  <a:cubicBezTo>
                    <a:pt x="29392" y="205930"/>
                    <a:pt x="33313" y="206878"/>
                    <a:pt x="38393" y="208107"/>
                  </a:cubicBezTo>
                  <a:cubicBezTo>
                    <a:pt x="50154" y="211257"/>
                    <a:pt x="62270" y="212889"/>
                    <a:pt x="74445" y="212965"/>
                  </a:cubicBezTo>
                  <a:cubicBezTo>
                    <a:pt x="118328" y="212965"/>
                    <a:pt x="150167" y="187600"/>
                    <a:pt x="150167" y="152648"/>
                  </a:cubicBezTo>
                  <a:cubicBezTo>
                    <a:pt x="150167" y="117696"/>
                    <a:pt x="117052" y="100922"/>
                    <a:pt x="87930" y="86267"/>
                  </a:cubicBezTo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5" name="Freihandform: Form 9">
              <a:extLst>
                <a:ext uri="{FF2B5EF4-FFF2-40B4-BE49-F238E27FC236}">
                  <a16:creationId xmlns:a16="http://schemas.microsoft.com/office/drawing/2014/main" id="{B113BD63-0DCF-81D7-2EAA-04FCD5B9B48F}"/>
                </a:ext>
              </a:extLst>
            </p:cNvPr>
            <p:cNvSpPr/>
            <p:nvPr/>
          </p:nvSpPr>
          <p:spPr>
            <a:xfrm>
              <a:off x="10421346" y="335748"/>
              <a:ext cx="149780" cy="202570"/>
            </a:xfrm>
            <a:custGeom>
              <a:avLst/>
              <a:gdLst>
                <a:gd name="connsiteX0" fmla="*/ 10184 w 149780"/>
                <a:gd name="connsiteY0" fmla="*/ 176725 h 202570"/>
                <a:gd name="connsiteX1" fmla="*/ 2540 w 149780"/>
                <a:gd name="connsiteY1" fmla="*/ 187986 h 202570"/>
                <a:gd name="connsiteX2" fmla="*/ 0 w 149780"/>
                <a:gd name="connsiteY2" fmla="*/ 188232 h 202570"/>
                <a:gd name="connsiteX3" fmla="*/ 0 w 149780"/>
                <a:gd name="connsiteY3" fmla="*/ 202571 h 202570"/>
                <a:gd name="connsiteX4" fmla="*/ 144864 w 149780"/>
                <a:gd name="connsiteY4" fmla="*/ 202571 h 202570"/>
                <a:gd name="connsiteX5" fmla="*/ 149780 w 149780"/>
                <a:gd name="connsiteY5" fmla="*/ 162059 h 202570"/>
                <a:gd name="connsiteX6" fmla="*/ 134563 w 149780"/>
                <a:gd name="connsiteY6" fmla="*/ 162176 h 202570"/>
                <a:gd name="connsiteX7" fmla="*/ 133943 w 149780"/>
                <a:gd name="connsiteY7" fmla="*/ 164107 h 202570"/>
                <a:gd name="connsiteX8" fmla="*/ 101379 w 149780"/>
                <a:gd name="connsiteY8" fmla="*/ 182754 h 202570"/>
                <a:gd name="connsiteX9" fmla="*/ 64192 w 149780"/>
                <a:gd name="connsiteY9" fmla="*/ 182754 h 202570"/>
                <a:gd name="connsiteX10" fmla="*/ 49244 w 149780"/>
                <a:gd name="connsiteY10" fmla="*/ 162749 h 202570"/>
                <a:gd name="connsiteX11" fmla="*/ 49244 w 149780"/>
                <a:gd name="connsiteY11" fmla="*/ 107875 h 202570"/>
                <a:gd name="connsiteX12" fmla="*/ 89042 w 149780"/>
                <a:gd name="connsiteY12" fmla="*/ 107875 h 202570"/>
                <a:gd name="connsiteX13" fmla="*/ 107630 w 149780"/>
                <a:gd name="connsiteY13" fmla="*/ 118878 h 202570"/>
                <a:gd name="connsiteX14" fmla="*/ 108051 w 149780"/>
                <a:gd name="connsiteY14" fmla="*/ 121219 h 202570"/>
                <a:gd name="connsiteX15" fmla="*/ 122542 w 149780"/>
                <a:gd name="connsiteY15" fmla="*/ 121219 h 202570"/>
                <a:gd name="connsiteX16" fmla="*/ 122542 w 149780"/>
                <a:gd name="connsiteY16" fmla="*/ 75569 h 202570"/>
                <a:gd name="connsiteX17" fmla="*/ 108285 w 149780"/>
                <a:gd name="connsiteY17" fmla="*/ 75569 h 202570"/>
                <a:gd name="connsiteX18" fmla="*/ 107934 w 149780"/>
                <a:gd name="connsiteY18" fmla="*/ 77910 h 202570"/>
                <a:gd name="connsiteX19" fmla="*/ 89042 w 149780"/>
                <a:gd name="connsiteY19" fmla="*/ 88105 h 202570"/>
                <a:gd name="connsiteX20" fmla="*/ 49244 w 149780"/>
                <a:gd name="connsiteY20" fmla="*/ 88105 h 202570"/>
                <a:gd name="connsiteX21" fmla="*/ 49244 w 149780"/>
                <a:gd name="connsiteY21" fmla="*/ 19829 h 202570"/>
                <a:gd name="connsiteX22" fmla="*/ 102550 w 149780"/>
                <a:gd name="connsiteY22" fmla="*/ 19829 h 202570"/>
                <a:gd name="connsiteX23" fmla="*/ 124310 w 149780"/>
                <a:gd name="connsiteY23" fmla="*/ 34226 h 202570"/>
                <a:gd name="connsiteX24" fmla="*/ 124883 w 149780"/>
                <a:gd name="connsiteY24" fmla="*/ 36286 h 202570"/>
                <a:gd name="connsiteX25" fmla="*/ 140100 w 149780"/>
                <a:gd name="connsiteY25" fmla="*/ 36286 h 202570"/>
                <a:gd name="connsiteX26" fmla="*/ 137595 w 149780"/>
                <a:gd name="connsiteY26" fmla="*/ 0 h 202570"/>
                <a:gd name="connsiteX27" fmla="*/ 222 w 149780"/>
                <a:gd name="connsiteY27" fmla="*/ 0 h 202570"/>
                <a:gd name="connsiteX28" fmla="*/ 222 w 149780"/>
                <a:gd name="connsiteY28" fmla="*/ 14198 h 202570"/>
                <a:gd name="connsiteX29" fmla="*/ 2798 w 149780"/>
                <a:gd name="connsiteY29" fmla="*/ 14374 h 202570"/>
                <a:gd name="connsiteX30" fmla="*/ 10207 w 149780"/>
                <a:gd name="connsiteY30" fmla="*/ 32412 h 2025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149780" h="202570">
                  <a:moveTo>
                    <a:pt x="10184" y="176725"/>
                  </a:moveTo>
                  <a:cubicBezTo>
                    <a:pt x="9973" y="184626"/>
                    <a:pt x="9774" y="187260"/>
                    <a:pt x="2540" y="187986"/>
                  </a:cubicBezTo>
                  <a:lnTo>
                    <a:pt x="0" y="188232"/>
                  </a:lnTo>
                  <a:lnTo>
                    <a:pt x="0" y="202571"/>
                  </a:lnTo>
                  <a:lnTo>
                    <a:pt x="144864" y="202571"/>
                  </a:lnTo>
                  <a:lnTo>
                    <a:pt x="149780" y="162059"/>
                  </a:lnTo>
                  <a:lnTo>
                    <a:pt x="134563" y="162176"/>
                  </a:lnTo>
                  <a:lnTo>
                    <a:pt x="133943" y="164107"/>
                  </a:lnTo>
                  <a:cubicBezTo>
                    <a:pt x="127927" y="182964"/>
                    <a:pt x="121734" y="182906"/>
                    <a:pt x="101379" y="182754"/>
                  </a:cubicBezTo>
                  <a:lnTo>
                    <a:pt x="64192" y="182754"/>
                  </a:lnTo>
                  <a:cubicBezTo>
                    <a:pt x="49654" y="182754"/>
                    <a:pt x="49244" y="179909"/>
                    <a:pt x="49244" y="162749"/>
                  </a:cubicBezTo>
                  <a:lnTo>
                    <a:pt x="49244" y="107875"/>
                  </a:lnTo>
                  <a:lnTo>
                    <a:pt x="89042" y="107875"/>
                  </a:lnTo>
                  <a:cubicBezTo>
                    <a:pt x="102292" y="107875"/>
                    <a:pt x="105066" y="108168"/>
                    <a:pt x="107630" y="118878"/>
                  </a:cubicBezTo>
                  <a:lnTo>
                    <a:pt x="108051" y="121219"/>
                  </a:lnTo>
                  <a:lnTo>
                    <a:pt x="122542" y="121219"/>
                  </a:lnTo>
                  <a:lnTo>
                    <a:pt x="122542" y="75569"/>
                  </a:lnTo>
                  <a:lnTo>
                    <a:pt x="108285" y="75569"/>
                  </a:lnTo>
                  <a:lnTo>
                    <a:pt x="107934" y="77910"/>
                  </a:lnTo>
                  <a:cubicBezTo>
                    <a:pt x="106248" y="87368"/>
                    <a:pt x="103158" y="88105"/>
                    <a:pt x="89042" y="88105"/>
                  </a:cubicBezTo>
                  <a:lnTo>
                    <a:pt x="49244" y="88105"/>
                  </a:lnTo>
                  <a:lnTo>
                    <a:pt x="49244" y="19829"/>
                  </a:lnTo>
                  <a:lnTo>
                    <a:pt x="102550" y="19829"/>
                  </a:lnTo>
                  <a:cubicBezTo>
                    <a:pt x="116233" y="19829"/>
                    <a:pt x="120716" y="19829"/>
                    <a:pt x="124310" y="34226"/>
                  </a:cubicBezTo>
                  <a:lnTo>
                    <a:pt x="124883" y="36286"/>
                  </a:lnTo>
                  <a:lnTo>
                    <a:pt x="140100" y="36286"/>
                  </a:lnTo>
                  <a:lnTo>
                    <a:pt x="137595" y="0"/>
                  </a:lnTo>
                  <a:lnTo>
                    <a:pt x="222" y="0"/>
                  </a:lnTo>
                  <a:lnTo>
                    <a:pt x="222" y="14198"/>
                  </a:lnTo>
                  <a:lnTo>
                    <a:pt x="2798" y="14374"/>
                  </a:lnTo>
                  <a:cubicBezTo>
                    <a:pt x="10102" y="15252"/>
                    <a:pt x="10113" y="17886"/>
                    <a:pt x="10207" y="32412"/>
                  </a:cubicBez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6" name="Freihandform: Form 10">
              <a:extLst>
                <a:ext uri="{FF2B5EF4-FFF2-40B4-BE49-F238E27FC236}">
                  <a16:creationId xmlns:a16="http://schemas.microsoft.com/office/drawing/2014/main" id="{74A0185C-7545-2884-AFBC-160292078BEC}"/>
                </a:ext>
              </a:extLst>
            </p:cNvPr>
            <p:cNvSpPr/>
            <p:nvPr/>
          </p:nvSpPr>
          <p:spPr>
            <a:xfrm>
              <a:off x="11496262" y="332657"/>
              <a:ext cx="216465" cy="208540"/>
            </a:xfrm>
            <a:custGeom>
              <a:avLst/>
              <a:gdLst>
                <a:gd name="connsiteX0" fmla="*/ 145742 w 216465"/>
                <a:gd name="connsiteY0" fmla="*/ 131087 h 208540"/>
                <a:gd name="connsiteX1" fmla="*/ 125609 w 216465"/>
                <a:gd name="connsiteY1" fmla="*/ 111902 h 208540"/>
                <a:gd name="connsiteX2" fmla="*/ 162609 w 216465"/>
                <a:gd name="connsiteY2" fmla="*/ 59556 h 208540"/>
                <a:gd name="connsiteX3" fmla="*/ 74738 w 216465"/>
                <a:gd name="connsiteY3" fmla="*/ 0 h 208540"/>
                <a:gd name="connsiteX4" fmla="*/ 36321 w 216465"/>
                <a:gd name="connsiteY4" fmla="*/ 632 h 208540"/>
                <a:gd name="connsiteX5" fmla="*/ 15147 w 216465"/>
                <a:gd name="connsiteY5" fmla="*/ 1662 h 208540"/>
                <a:gd name="connsiteX6" fmla="*/ 6450 w 216465"/>
                <a:gd name="connsiteY6" fmla="*/ 2247 h 208540"/>
                <a:gd name="connsiteX7" fmla="*/ 6450 w 216465"/>
                <a:gd name="connsiteY7" fmla="*/ 16586 h 208540"/>
                <a:gd name="connsiteX8" fmla="*/ 8978 w 216465"/>
                <a:gd name="connsiteY8" fmla="*/ 16703 h 208540"/>
                <a:gd name="connsiteX9" fmla="*/ 17698 w 216465"/>
                <a:gd name="connsiteY9" fmla="*/ 25061 h 208540"/>
                <a:gd name="connsiteX10" fmla="*/ 17581 w 216465"/>
                <a:gd name="connsiteY10" fmla="*/ 173413 h 208540"/>
                <a:gd name="connsiteX11" fmla="*/ 2669 w 216465"/>
                <a:gd name="connsiteY11" fmla="*/ 191486 h 208540"/>
                <a:gd name="connsiteX12" fmla="*/ 0 w 216465"/>
                <a:gd name="connsiteY12" fmla="*/ 191626 h 208540"/>
                <a:gd name="connsiteX13" fmla="*/ 0 w 216465"/>
                <a:gd name="connsiteY13" fmla="*/ 205672 h 208540"/>
                <a:gd name="connsiteX14" fmla="*/ 76435 w 216465"/>
                <a:gd name="connsiteY14" fmla="*/ 205672 h 208540"/>
                <a:gd name="connsiteX15" fmla="*/ 76435 w 216465"/>
                <a:gd name="connsiteY15" fmla="*/ 191544 h 208540"/>
                <a:gd name="connsiteX16" fmla="*/ 73790 w 216465"/>
                <a:gd name="connsiteY16" fmla="*/ 191544 h 208540"/>
                <a:gd name="connsiteX17" fmla="*/ 58374 w 216465"/>
                <a:gd name="connsiteY17" fmla="*/ 164353 h 208540"/>
                <a:gd name="connsiteX18" fmla="*/ 58374 w 216465"/>
                <a:gd name="connsiteY18" fmla="*/ 124192 h 208540"/>
                <a:gd name="connsiteX19" fmla="*/ 82651 w 216465"/>
                <a:gd name="connsiteY19" fmla="*/ 123982 h 208540"/>
                <a:gd name="connsiteX20" fmla="*/ 115425 w 216465"/>
                <a:gd name="connsiteY20" fmla="*/ 153526 h 208540"/>
                <a:gd name="connsiteX21" fmla="*/ 132035 w 216465"/>
                <a:gd name="connsiteY21" fmla="*/ 170276 h 208540"/>
                <a:gd name="connsiteX22" fmla="*/ 141926 w 216465"/>
                <a:gd name="connsiteY22" fmla="*/ 180612 h 208540"/>
                <a:gd name="connsiteX23" fmla="*/ 148797 w 216465"/>
                <a:gd name="connsiteY23" fmla="*/ 188232 h 208540"/>
                <a:gd name="connsiteX24" fmla="*/ 201798 w 216465"/>
                <a:gd name="connsiteY24" fmla="*/ 208540 h 208540"/>
                <a:gd name="connsiteX25" fmla="*/ 213281 w 216465"/>
                <a:gd name="connsiteY25" fmla="*/ 208376 h 208540"/>
                <a:gd name="connsiteX26" fmla="*/ 216465 w 216465"/>
                <a:gd name="connsiteY26" fmla="*/ 208306 h 208540"/>
                <a:gd name="connsiteX27" fmla="*/ 216465 w 216465"/>
                <a:gd name="connsiteY27" fmla="*/ 194201 h 208540"/>
                <a:gd name="connsiteX28" fmla="*/ 213504 w 216465"/>
                <a:gd name="connsiteY28" fmla="*/ 193932 h 208540"/>
                <a:gd name="connsiteX29" fmla="*/ 213504 w 216465"/>
                <a:gd name="connsiteY29" fmla="*/ 193932 h 208540"/>
                <a:gd name="connsiteX30" fmla="*/ 190316 w 216465"/>
                <a:gd name="connsiteY30" fmla="*/ 177159 h 208540"/>
                <a:gd name="connsiteX31" fmla="*/ 171131 w 216465"/>
                <a:gd name="connsiteY31" fmla="*/ 156967 h 208540"/>
                <a:gd name="connsiteX32" fmla="*/ 119031 w 216465"/>
                <a:gd name="connsiteY32" fmla="*/ 62728 h 208540"/>
                <a:gd name="connsiteX33" fmla="*/ 65713 w 216465"/>
                <a:gd name="connsiteY33" fmla="*/ 110041 h 208540"/>
                <a:gd name="connsiteX34" fmla="*/ 58397 w 216465"/>
                <a:gd name="connsiteY34" fmla="*/ 109725 h 208540"/>
                <a:gd name="connsiteX35" fmla="*/ 58397 w 216465"/>
                <a:gd name="connsiteY35" fmla="*/ 15334 h 208540"/>
                <a:gd name="connsiteX36" fmla="*/ 71542 w 216465"/>
                <a:gd name="connsiteY36" fmla="*/ 15182 h 208540"/>
                <a:gd name="connsiteX37" fmla="*/ 119031 w 216465"/>
                <a:gd name="connsiteY37" fmla="*/ 62728 h 2085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16465" h="208540">
                  <a:moveTo>
                    <a:pt x="145742" y="131087"/>
                  </a:moveTo>
                  <a:cubicBezTo>
                    <a:pt x="143541" y="128874"/>
                    <a:pt x="132632" y="117930"/>
                    <a:pt x="125609" y="111902"/>
                  </a:cubicBezTo>
                  <a:cubicBezTo>
                    <a:pt x="150190" y="100325"/>
                    <a:pt x="162609" y="82721"/>
                    <a:pt x="162609" y="59556"/>
                  </a:cubicBezTo>
                  <a:cubicBezTo>
                    <a:pt x="162609" y="41647"/>
                    <a:pt x="154053" y="0"/>
                    <a:pt x="74738" y="0"/>
                  </a:cubicBezTo>
                  <a:cubicBezTo>
                    <a:pt x="68242" y="0"/>
                    <a:pt x="53037" y="0"/>
                    <a:pt x="36321" y="632"/>
                  </a:cubicBezTo>
                  <a:cubicBezTo>
                    <a:pt x="26243" y="1077"/>
                    <a:pt x="20332" y="1393"/>
                    <a:pt x="15147" y="1662"/>
                  </a:cubicBezTo>
                  <a:lnTo>
                    <a:pt x="6450" y="2247"/>
                  </a:lnTo>
                  <a:lnTo>
                    <a:pt x="6450" y="16586"/>
                  </a:lnTo>
                  <a:lnTo>
                    <a:pt x="8978" y="16703"/>
                  </a:lnTo>
                  <a:cubicBezTo>
                    <a:pt x="15240" y="17160"/>
                    <a:pt x="17616" y="18787"/>
                    <a:pt x="17698" y="25061"/>
                  </a:cubicBezTo>
                  <a:lnTo>
                    <a:pt x="17581" y="173413"/>
                  </a:lnTo>
                  <a:cubicBezTo>
                    <a:pt x="17195" y="185715"/>
                    <a:pt x="16411" y="190842"/>
                    <a:pt x="2669" y="191486"/>
                  </a:cubicBezTo>
                  <a:lnTo>
                    <a:pt x="0" y="191626"/>
                  </a:lnTo>
                  <a:lnTo>
                    <a:pt x="0" y="205672"/>
                  </a:lnTo>
                  <a:lnTo>
                    <a:pt x="76435" y="205672"/>
                  </a:lnTo>
                  <a:lnTo>
                    <a:pt x="76435" y="191544"/>
                  </a:lnTo>
                  <a:lnTo>
                    <a:pt x="73790" y="191544"/>
                  </a:lnTo>
                  <a:cubicBezTo>
                    <a:pt x="58362" y="190783"/>
                    <a:pt x="58374" y="187260"/>
                    <a:pt x="58374" y="164353"/>
                  </a:cubicBezTo>
                  <a:lnTo>
                    <a:pt x="58374" y="124192"/>
                  </a:lnTo>
                  <a:cubicBezTo>
                    <a:pt x="66462" y="124664"/>
                    <a:pt x="74574" y="124593"/>
                    <a:pt x="82651" y="123982"/>
                  </a:cubicBezTo>
                  <a:cubicBezTo>
                    <a:pt x="95000" y="133205"/>
                    <a:pt x="99635" y="137583"/>
                    <a:pt x="115425" y="153526"/>
                  </a:cubicBezTo>
                  <a:lnTo>
                    <a:pt x="132035" y="170276"/>
                  </a:lnTo>
                  <a:cubicBezTo>
                    <a:pt x="135804" y="174092"/>
                    <a:pt x="139058" y="177556"/>
                    <a:pt x="141926" y="180612"/>
                  </a:cubicBezTo>
                  <a:cubicBezTo>
                    <a:pt x="144525" y="183374"/>
                    <a:pt x="146784" y="185949"/>
                    <a:pt x="148797" y="188232"/>
                  </a:cubicBezTo>
                  <a:cubicBezTo>
                    <a:pt x="161087" y="202173"/>
                    <a:pt x="166706" y="208540"/>
                    <a:pt x="201798" y="208540"/>
                  </a:cubicBezTo>
                  <a:cubicBezTo>
                    <a:pt x="205310" y="208540"/>
                    <a:pt x="209044" y="208540"/>
                    <a:pt x="213281" y="208376"/>
                  </a:cubicBezTo>
                  <a:lnTo>
                    <a:pt x="216465" y="208306"/>
                  </a:lnTo>
                  <a:lnTo>
                    <a:pt x="216465" y="194201"/>
                  </a:lnTo>
                  <a:lnTo>
                    <a:pt x="213504" y="193932"/>
                  </a:lnTo>
                  <a:lnTo>
                    <a:pt x="213504" y="193932"/>
                  </a:lnTo>
                  <a:cubicBezTo>
                    <a:pt x="205228" y="193160"/>
                    <a:pt x="200253" y="187810"/>
                    <a:pt x="190316" y="177159"/>
                  </a:cubicBezTo>
                  <a:lnTo>
                    <a:pt x="171131" y="156967"/>
                  </a:lnTo>
                  <a:close/>
                  <a:moveTo>
                    <a:pt x="119031" y="62728"/>
                  </a:moveTo>
                  <a:cubicBezTo>
                    <a:pt x="119031" y="95210"/>
                    <a:pt x="104247" y="108554"/>
                    <a:pt x="65713" y="110041"/>
                  </a:cubicBezTo>
                  <a:cubicBezTo>
                    <a:pt x="64543" y="110041"/>
                    <a:pt x="61195" y="110041"/>
                    <a:pt x="58397" y="109725"/>
                  </a:cubicBezTo>
                  <a:lnTo>
                    <a:pt x="58397" y="15334"/>
                  </a:lnTo>
                  <a:cubicBezTo>
                    <a:pt x="62225" y="15182"/>
                    <a:pt x="68101" y="15182"/>
                    <a:pt x="71542" y="15182"/>
                  </a:cubicBezTo>
                  <a:cubicBezTo>
                    <a:pt x="103193" y="15170"/>
                    <a:pt x="119031" y="31159"/>
                    <a:pt x="119031" y="62728"/>
                  </a:cubicBez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7" name="Freihandform: Form 11">
              <a:extLst>
                <a:ext uri="{FF2B5EF4-FFF2-40B4-BE49-F238E27FC236}">
                  <a16:creationId xmlns:a16="http://schemas.microsoft.com/office/drawing/2014/main" id="{3A15687B-F925-2EC5-A5B7-BA2320237F8D}"/>
                </a:ext>
              </a:extLst>
            </p:cNvPr>
            <p:cNvSpPr/>
            <p:nvPr/>
          </p:nvSpPr>
          <p:spPr>
            <a:xfrm>
              <a:off x="10830304" y="335724"/>
              <a:ext cx="207171" cy="202652"/>
            </a:xfrm>
            <a:custGeom>
              <a:avLst/>
              <a:gdLst>
                <a:gd name="connsiteX0" fmla="*/ 121430 w 207171"/>
                <a:gd name="connsiteY0" fmla="*/ 0 h 202652"/>
                <a:gd name="connsiteX1" fmla="*/ 90762 w 207171"/>
                <a:gd name="connsiteY1" fmla="*/ 0 h 202652"/>
                <a:gd name="connsiteX2" fmla="*/ 24979 w 207171"/>
                <a:gd name="connsiteY2" fmla="*/ 164529 h 202652"/>
                <a:gd name="connsiteX3" fmla="*/ 2610 w 207171"/>
                <a:gd name="connsiteY3" fmla="*/ 188431 h 202652"/>
                <a:gd name="connsiteX4" fmla="*/ 0 w 207171"/>
                <a:gd name="connsiteY4" fmla="*/ 188606 h 202652"/>
                <a:gd name="connsiteX5" fmla="*/ 0 w 207171"/>
                <a:gd name="connsiteY5" fmla="*/ 202652 h 202652"/>
                <a:gd name="connsiteX6" fmla="*/ 56735 w 207171"/>
                <a:gd name="connsiteY6" fmla="*/ 202652 h 202652"/>
                <a:gd name="connsiteX7" fmla="*/ 56735 w 207171"/>
                <a:gd name="connsiteY7" fmla="*/ 188712 h 202652"/>
                <a:gd name="connsiteX8" fmla="*/ 54184 w 207171"/>
                <a:gd name="connsiteY8" fmla="*/ 188489 h 202652"/>
                <a:gd name="connsiteX9" fmla="*/ 41530 w 207171"/>
                <a:gd name="connsiteY9" fmla="*/ 178879 h 202652"/>
                <a:gd name="connsiteX10" fmla="*/ 44562 w 207171"/>
                <a:gd name="connsiteY10" fmla="*/ 167478 h 202652"/>
                <a:gd name="connsiteX11" fmla="*/ 59779 w 207171"/>
                <a:gd name="connsiteY11" fmla="*/ 128196 h 202652"/>
                <a:gd name="connsiteX12" fmla="*/ 129706 w 207171"/>
                <a:gd name="connsiteY12" fmla="*/ 128196 h 202652"/>
                <a:gd name="connsiteX13" fmla="*/ 144923 w 207171"/>
                <a:gd name="connsiteY13" fmla="*/ 167385 h 202652"/>
                <a:gd name="connsiteX14" fmla="*/ 148844 w 207171"/>
                <a:gd name="connsiteY14" fmla="*/ 179734 h 202652"/>
                <a:gd name="connsiteX15" fmla="*/ 148937 w 207171"/>
                <a:gd name="connsiteY15" fmla="*/ 180202 h 202652"/>
                <a:gd name="connsiteX16" fmla="*/ 147896 w 207171"/>
                <a:gd name="connsiteY16" fmla="*/ 184802 h 202652"/>
                <a:gd name="connsiteX17" fmla="*/ 136577 w 207171"/>
                <a:gd name="connsiteY17" fmla="*/ 188243 h 202652"/>
                <a:gd name="connsiteX18" fmla="*/ 134002 w 207171"/>
                <a:gd name="connsiteY18" fmla="*/ 188442 h 202652"/>
                <a:gd name="connsiteX19" fmla="*/ 134002 w 207171"/>
                <a:gd name="connsiteY19" fmla="*/ 202606 h 202652"/>
                <a:gd name="connsiteX20" fmla="*/ 207171 w 207171"/>
                <a:gd name="connsiteY20" fmla="*/ 202606 h 202652"/>
                <a:gd name="connsiteX21" fmla="*/ 207171 w 207171"/>
                <a:gd name="connsiteY21" fmla="*/ 188700 h 202652"/>
                <a:gd name="connsiteX22" fmla="*/ 204502 w 207171"/>
                <a:gd name="connsiteY22" fmla="*/ 188559 h 202652"/>
                <a:gd name="connsiteX23" fmla="*/ 184603 w 207171"/>
                <a:gd name="connsiteY23" fmla="*/ 167759 h 202652"/>
                <a:gd name="connsiteX24" fmla="*/ 121641 w 207171"/>
                <a:gd name="connsiteY24" fmla="*/ 107161 h 202652"/>
                <a:gd name="connsiteX25" fmla="*/ 67797 w 207171"/>
                <a:gd name="connsiteY25" fmla="*/ 107161 h 202652"/>
                <a:gd name="connsiteX26" fmla="*/ 95140 w 207171"/>
                <a:gd name="connsiteY26" fmla="*/ 37012 h 2026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207171" h="202652">
                  <a:moveTo>
                    <a:pt x="121430" y="0"/>
                  </a:moveTo>
                  <a:lnTo>
                    <a:pt x="90762" y="0"/>
                  </a:lnTo>
                  <a:lnTo>
                    <a:pt x="24979" y="164529"/>
                  </a:lnTo>
                  <a:cubicBezTo>
                    <a:pt x="17172" y="183994"/>
                    <a:pt x="15755" y="187506"/>
                    <a:pt x="2610" y="188431"/>
                  </a:cubicBezTo>
                  <a:lnTo>
                    <a:pt x="0" y="188606"/>
                  </a:lnTo>
                  <a:lnTo>
                    <a:pt x="0" y="202652"/>
                  </a:lnTo>
                  <a:lnTo>
                    <a:pt x="56735" y="202652"/>
                  </a:lnTo>
                  <a:lnTo>
                    <a:pt x="56735" y="188712"/>
                  </a:lnTo>
                  <a:lnTo>
                    <a:pt x="54184" y="188489"/>
                  </a:lnTo>
                  <a:cubicBezTo>
                    <a:pt x="43649" y="187319"/>
                    <a:pt x="41202" y="183315"/>
                    <a:pt x="41530" y="178879"/>
                  </a:cubicBezTo>
                  <a:cubicBezTo>
                    <a:pt x="41741" y="176105"/>
                    <a:pt x="42572" y="172839"/>
                    <a:pt x="44562" y="167478"/>
                  </a:cubicBezTo>
                  <a:lnTo>
                    <a:pt x="59779" y="128196"/>
                  </a:lnTo>
                  <a:lnTo>
                    <a:pt x="129706" y="128196"/>
                  </a:lnTo>
                  <a:lnTo>
                    <a:pt x="144923" y="167385"/>
                  </a:lnTo>
                  <a:cubicBezTo>
                    <a:pt x="147369" y="174326"/>
                    <a:pt x="147907" y="175672"/>
                    <a:pt x="148844" y="179734"/>
                  </a:cubicBezTo>
                  <a:lnTo>
                    <a:pt x="148937" y="180202"/>
                  </a:lnTo>
                  <a:cubicBezTo>
                    <a:pt x="149324" y="181814"/>
                    <a:pt x="148939" y="183513"/>
                    <a:pt x="147896" y="184802"/>
                  </a:cubicBezTo>
                  <a:cubicBezTo>
                    <a:pt x="146421" y="186651"/>
                    <a:pt x="142780" y="187763"/>
                    <a:pt x="136577" y="188243"/>
                  </a:cubicBezTo>
                  <a:lnTo>
                    <a:pt x="134002" y="188442"/>
                  </a:lnTo>
                  <a:lnTo>
                    <a:pt x="134002" y="202606"/>
                  </a:lnTo>
                  <a:lnTo>
                    <a:pt x="207171" y="202606"/>
                  </a:lnTo>
                  <a:lnTo>
                    <a:pt x="207171" y="188700"/>
                  </a:lnTo>
                  <a:lnTo>
                    <a:pt x="204502" y="188559"/>
                  </a:lnTo>
                  <a:cubicBezTo>
                    <a:pt x="191989" y="187986"/>
                    <a:pt x="190854" y="184896"/>
                    <a:pt x="184603" y="167759"/>
                  </a:cubicBezTo>
                  <a:close/>
                  <a:moveTo>
                    <a:pt x="121641" y="107161"/>
                  </a:moveTo>
                  <a:lnTo>
                    <a:pt x="67797" y="107161"/>
                  </a:lnTo>
                  <a:lnTo>
                    <a:pt x="95140" y="37012"/>
                  </a:ln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8" name="Freihandform: Form 12">
              <a:extLst>
                <a:ext uri="{FF2B5EF4-FFF2-40B4-BE49-F238E27FC236}">
                  <a16:creationId xmlns:a16="http://schemas.microsoft.com/office/drawing/2014/main" id="{470881D5-51DF-7717-4AA3-64AD818624D7}"/>
                </a:ext>
              </a:extLst>
            </p:cNvPr>
            <p:cNvSpPr/>
            <p:nvPr/>
          </p:nvSpPr>
          <p:spPr>
            <a:xfrm>
              <a:off x="11256925" y="330434"/>
              <a:ext cx="218794" cy="212964"/>
            </a:xfrm>
            <a:custGeom>
              <a:avLst/>
              <a:gdLst>
                <a:gd name="connsiteX0" fmla="*/ 109397 w 218794"/>
                <a:gd name="connsiteY0" fmla="*/ 0 h 212964"/>
                <a:gd name="connsiteX1" fmla="*/ 0 w 218794"/>
                <a:gd name="connsiteY1" fmla="*/ 111878 h 212964"/>
                <a:gd name="connsiteX2" fmla="*/ 108227 w 218794"/>
                <a:gd name="connsiteY2" fmla="*/ 212965 h 212964"/>
                <a:gd name="connsiteX3" fmla="*/ 218794 w 218794"/>
                <a:gd name="connsiteY3" fmla="*/ 102994 h 212964"/>
                <a:gd name="connsiteX4" fmla="*/ 109397 w 218794"/>
                <a:gd name="connsiteY4" fmla="*/ 0 h 212964"/>
                <a:gd name="connsiteX5" fmla="*/ 177861 w 218794"/>
                <a:gd name="connsiteY5" fmla="*/ 110919 h 212964"/>
                <a:gd name="connsiteX6" fmla="*/ 112897 w 218794"/>
                <a:gd name="connsiteY6" fmla="*/ 197210 h 212964"/>
                <a:gd name="connsiteX7" fmla="*/ 40945 w 218794"/>
                <a:gd name="connsiteY7" fmla="*/ 103310 h 212964"/>
                <a:gd name="connsiteX8" fmla="*/ 107056 w 218794"/>
                <a:gd name="connsiteY8" fmla="*/ 15744 h 212964"/>
                <a:gd name="connsiteX9" fmla="*/ 177861 w 218794"/>
                <a:gd name="connsiteY9" fmla="*/ 110919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18794" h="212964">
                  <a:moveTo>
                    <a:pt x="109397" y="0"/>
                  </a:moveTo>
                  <a:cubicBezTo>
                    <a:pt x="45966" y="0"/>
                    <a:pt x="0" y="47043"/>
                    <a:pt x="0" y="111878"/>
                  </a:cubicBezTo>
                  <a:cubicBezTo>
                    <a:pt x="0" y="170405"/>
                    <a:pt x="45522" y="212965"/>
                    <a:pt x="108227" y="212965"/>
                  </a:cubicBezTo>
                  <a:cubicBezTo>
                    <a:pt x="171259" y="212965"/>
                    <a:pt x="218794" y="165687"/>
                    <a:pt x="218794" y="102994"/>
                  </a:cubicBezTo>
                  <a:cubicBezTo>
                    <a:pt x="218794" y="42349"/>
                    <a:pt x="173811" y="0"/>
                    <a:pt x="109397" y="0"/>
                  </a:cubicBezTo>
                  <a:close/>
                  <a:moveTo>
                    <a:pt x="177861" y="110919"/>
                  </a:moveTo>
                  <a:cubicBezTo>
                    <a:pt x="177861" y="162539"/>
                    <a:pt x="151758" y="197210"/>
                    <a:pt x="112897" y="197210"/>
                  </a:cubicBezTo>
                  <a:cubicBezTo>
                    <a:pt x="77138" y="197210"/>
                    <a:pt x="40945" y="164950"/>
                    <a:pt x="40945" y="103310"/>
                  </a:cubicBezTo>
                  <a:cubicBezTo>
                    <a:pt x="40945" y="49302"/>
                    <a:pt x="66275" y="15744"/>
                    <a:pt x="107056" y="15744"/>
                  </a:cubicBezTo>
                  <a:cubicBezTo>
                    <a:pt x="148738" y="15744"/>
                    <a:pt x="177861" y="54886"/>
                    <a:pt x="177861" y="110919"/>
                  </a:cubicBez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9" name="Freihandform: Form 13">
              <a:extLst>
                <a:ext uri="{FF2B5EF4-FFF2-40B4-BE49-F238E27FC236}">
                  <a16:creationId xmlns:a16="http://schemas.microsoft.com/office/drawing/2014/main" id="{CA5F1405-18A5-1DC9-39FC-857C0BAFD184}"/>
                </a:ext>
              </a:extLst>
            </p:cNvPr>
            <p:cNvSpPr/>
            <p:nvPr/>
          </p:nvSpPr>
          <p:spPr>
            <a:xfrm>
              <a:off x="11045727" y="330434"/>
              <a:ext cx="196811" cy="212964"/>
            </a:xfrm>
            <a:custGeom>
              <a:avLst/>
              <a:gdLst>
                <a:gd name="connsiteX0" fmla="*/ 196812 w 196811"/>
                <a:gd name="connsiteY0" fmla="*/ 165348 h 212964"/>
                <a:gd name="connsiteX1" fmla="*/ 180635 w 196811"/>
                <a:gd name="connsiteY1" fmla="*/ 165547 h 212964"/>
                <a:gd name="connsiteX2" fmla="*/ 179828 w 196811"/>
                <a:gd name="connsiteY2" fmla="*/ 166659 h 212964"/>
                <a:gd name="connsiteX3" fmla="*/ 118960 w 196811"/>
                <a:gd name="connsiteY3" fmla="*/ 195922 h 212964"/>
                <a:gd name="connsiteX4" fmla="*/ 70255 w 196811"/>
                <a:gd name="connsiteY4" fmla="*/ 176585 h 212964"/>
                <a:gd name="connsiteX5" fmla="*/ 41729 w 196811"/>
                <a:gd name="connsiteY5" fmla="*/ 102023 h 212964"/>
                <a:gd name="connsiteX6" fmla="*/ 113623 w 196811"/>
                <a:gd name="connsiteY6" fmla="*/ 15720 h 212964"/>
                <a:gd name="connsiteX7" fmla="*/ 179359 w 196811"/>
                <a:gd name="connsiteY7" fmla="*/ 50391 h 212964"/>
                <a:gd name="connsiteX8" fmla="*/ 180155 w 196811"/>
                <a:gd name="connsiteY8" fmla="*/ 51959 h 212964"/>
                <a:gd name="connsiteX9" fmla="*/ 193558 w 196811"/>
                <a:gd name="connsiteY9" fmla="*/ 51749 h 212964"/>
                <a:gd name="connsiteX10" fmla="*/ 192259 w 196811"/>
                <a:gd name="connsiteY10" fmla="*/ 9142 h 212964"/>
                <a:gd name="connsiteX11" fmla="*/ 181267 w 196811"/>
                <a:gd name="connsiteY11" fmla="*/ 9142 h 212964"/>
                <a:gd name="connsiteX12" fmla="*/ 180694 w 196811"/>
                <a:gd name="connsiteY12" fmla="*/ 9528 h 212964"/>
                <a:gd name="connsiteX13" fmla="*/ 176515 w 196811"/>
                <a:gd name="connsiteY13" fmla="*/ 10453 h 212964"/>
                <a:gd name="connsiteX14" fmla="*/ 163768 w 196811"/>
                <a:gd name="connsiteY14" fmla="*/ 7761 h 212964"/>
                <a:gd name="connsiteX15" fmla="*/ 112441 w 196811"/>
                <a:gd name="connsiteY15" fmla="*/ 0 h 212964"/>
                <a:gd name="connsiteX16" fmla="*/ 0 w 196811"/>
                <a:gd name="connsiteY16" fmla="*/ 110275 h 212964"/>
                <a:gd name="connsiteX17" fmla="*/ 110029 w 196811"/>
                <a:gd name="connsiteY17" fmla="*/ 212965 h 212964"/>
                <a:gd name="connsiteX18" fmla="*/ 149382 w 196811"/>
                <a:gd name="connsiteY18" fmla="*/ 208411 h 212964"/>
                <a:gd name="connsiteX19" fmla="*/ 169808 w 196811"/>
                <a:gd name="connsiteY19" fmla="*/ 205661 h 212964"/>
                <a:gd name="connsiteX20" fmla="*/ 172804 w 196811"/>
                <a:gd name="connsiteY20" fmla="*/ 205567 h 212964"/>
                <a:gd name="connsiteX21" fmla="*/ 179406 w 196811"/>
                <a:gd name="connsiteY21" fmla="*/ 205719 h 212964"/>
                <a:gd name="connsiteX22" fmla="*/ 182414 w 196811"/>
                <a:gd name="connsiteY22" fmla="*/ 206012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96811" h="212964">
                  <a:moveTo>
                    <a:pt x="196812" y="165348"/>
                  </a:moveTo>
                  <a:lnTo>
                    <a:pt x="180635" y="165547"/>
                  </a:lnTo>
                  <a:lnTo>
                    <a:pt x="179828" y="166659"/>
                  </a:lnTo>
                  <a:cubicBezTo>
                    <a:pt x="163440" y="186839"/>
                    <a:pt x="146315" y="195044"/>
                    <a:pt x="118960" y="195922"/>
                  </a:cubicBezTo>
                  <a:cubicBezTo>
                    <a:pt x="100712" y="196577"/>
                    <a:pt x="83927" y="189824"/>
                    <a:pt x="70255" y="176585"/>
                  </a:cubicBezTo>
                  <a:cubicBezTo>
                    <a:pt x="52123" y="159027"/>
                    <a:pt x="41729" y="131859"/>
                    <a:pt x="41729" y="102023"/>
                  </a:cubicBezTo>
                  <a:cubicBezTo>
                    <a:pt x="41729" y="50403"/>
                    <a:pt x="70618" y="15720"/>
                    <a:pt x="113623" y="15720"/>
                  </a:cubicBezTo>
                  <a:cubicBezTo>
                    <a:pt x="143799" y="15720"/>
                    <a:pt x="168989" y="28994"/>
                    <a:pt x="179359" y="50391"/>
                  </a:cubicBezTo>
                  <a:lnTo>
                    <a:pt x="180155" y="51959"/>
                  </a:lnTo>
                  <a:lnTo>
                    <a:pt x="193558" y="51749"/>
                  </a:lnTo>
                  <a:lnTo>
                    <a:pt x="192259" y="9142"/>
                  </a:lnTo>
                  <a:lnTo>
                    <a:pt x="181267" y="9142"/>
                  </a:lnTo>
                  <a:lnTo>
                    <a:pt x="180694" y="9528"/>
                  </a:lnTo>
                  <a:cubicBezTo>
                    <a:pt x="179431" y="10264"/>
                    <a:pt x="177970" y="10587"/>
                    <a:pt x="176515" y="10453"/>
                  </a:cubicBezTo>
                  <a:cubicBezTo>
                    <a:pt x="173928" y="10359"/>
                    <a:pt x="169492" y="9282"/>
                    <a:pt x="163768" y="7761"/>
                  </a:cubicBezTo>
                  <a:cubicBezTo>
                    <a:pt x="152039" y="4682"/>
                    <a:pt x="134259" y="0"/>
                    <a:pt x="112441" y="0"/>
                  </a:cubicBezTo>
                  <a:cubicBezTo>
                    <a:pt x="34765" y="0"/>
                    <a:pt x="0" y="55377"/>
                    <a:pt x="0" y="110275"/>
                  </a:cubicBezTo>
                  <a:cubicBezTo>
                    <a:pt x="0" y="172652"/>
                    <a:pt x="43192" y="212965"/>
                    <a:pt x="110029" y="212965"/>
                  </a:cubicBezTo>
                  <a:cubicBezTo>
                    <a:pt x="124965" y="212965"/>
                    <a:pt x="138461" y="210448"/>
                    <a:pt x="149382" y="208411"/>
                  </a:cubicBezTo>
                  <a:cubicBezTo>
                    <a:pt x="156745" y="207030"/>
                    <a:pt x="163838" y="205789"/>
                    <a:pt x="169808" y="205661"/>
                  </a:cubicBezTo>
                  <a:cubicBezTo>
                    <a:pt x="171119" y="205661"/>
                    <a:pt x="172032" y="205661"/>
                    <a:pt x="172804" y="205567"/>
                  </a:cubicBezTo>
                  <a:cubicBezTo>
                    <a:pt x="175006" y="205507"/>
                    <a:pt x="177209" y="205558"/>
                    <a:pt x="179406" y="205719"/>
                  </a:cubicBezTo>
                  <a:lnTo>
                    <a:pt x="182414" y="206012"/>
                  </a:ln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23" name="Textplatzhalter 8">
            <a:extLst>
              <a:ext uri="{FF2B5EF4-FFF2-40B4-BE49-F238E27FC236}">
                <a16:creationId xmlns:a16="http://schemas.microsoft.com/office/drawing/2014/main" id="{AB262DF5-D896-82D8-BB53-D57978121C7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199505" y="1602346"/>
            <a:ext cx="468000" cy="360000"/>
          </a:xfrm>
          <a:solidFill>
            <a:schemeClr val="accent1"/>
          </a:solidFill>
        </p:spPr>
        <p:txBody>
          <a:bodyPr anchor="ctr"/>
          <a:lstStyle>
            <a:lvl1pPr algn="ctr" rtl="0">
              <a:defRPr sz="1600" cap="all" spc="400" baseline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01</a:t>
            </a:r>
          </a:p>
        </p:txBody>
      </p:sp>
      <p:sp>
        <p:nvSpPr>
          <p:cNvPr id="25" name="Textplatzhalter 8">
            <a:extLst>
              <a:ext uri="{FF2B5EF4-FFF2-40B4-BE49-F238E27FC236}">
                <a16:creationId xmlns:a16="http://schemas.microsoft.com/office/drawing/2014/main" id="{9F460655-3E59-DA38-D092-721C0927E9A3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1199505" y="2340229"/>
            <a:ext cx="468000" cy="360000"/>
          </a:xfrm>
          <a:solidFill>
            <a:schemeClr val="accent1"/>
          </a:solidFill>
        </p:spPr>
        <p:txBody>
          <a:bodyPr anchor="ctr"/>
          <a:lstStyle>
            <a:lvl1pPr algn="ctr" rtl="0">
              <a:defRPr sz="1600" cap="all" spc="400" baseline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02</a:t>
            </a:r>
          </a:p>
        </p:txBody>
      </p:sp>
      <p:sp>
        <p:nvSpPr>
          <p:cNvPr id="29" name="Textplatzhalter 8">
            <a:extLst>
              <a:ext uri="{FF2B5EF4-FFF2-40B4-BE49-F238E27FC236}">
                <a16:creationId xmlns:a16="http://schemas.microsoft.com/office/drawing/2014/main" id="{B6D8C916-CC36-7D82-EC89-15E46C6C4571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1199505" y="5291760"/>
            <a:ext cx="468000" cy="360000"/>
          </a:xfrm>
          <a:solidFill>
            <a:schemeClr val="accent1"/>
          </a:solidFill>
        </p:spPr>
        <p:txBody>
          <a:bodyPr anchor="ctr"/>
          <a:lstStyle>
            <a:lvl1pPr algn="ctr" rtl="0">
              <a:defRPr sz="1600" cap="all" spc="400" baseline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06</a:t>
            </a:r>
          </a:p>
        </p:txBody>
      </p:sp>
      <p:sp>
        <p:nvSpPr>
          <p:cNvPr id="30" name="Textplatzhalter 8">
            <a:extLst>
              <a:ext uri="{FF2B5EF4-FFF2-40B4-BE49-F238E27FC236}">
                <a16:creationId xmlns:a16="http://schemas.microsoft.com/office/drawing/2014/main" id="{D344A0D8-D357-7CC1-36A1-CEFCE6B60C04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1199505" y="3078112"/>
            <a:ext cx="468000" cy="360000"/>
          </a:xfrm>
          <a:solidFill>
            <a:schemeClr val="accent1"/>
          </a:solidFill>
        </p:spPr>
        <p:txBody>
          <a:bodyPr anchor="ctr"/>
          <a:lstStyle>
            <a:lvl1pPr algn="ctr" rtl="0">
              <a:defRPr sz="1600" cap="all" spc="400" baseline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03</a:t>
            </a:r>
          </a:p>
        </p:txBody>
      </p:sp>
      <p:sp>
        <p:nvSpPr>
          <p:cNvPr id="70" name="Textplatzhalter 8">
            <a:extLst>
              <a:ext uri="{FF2B5EF4-FFF2-40B4-BE49-F238E27FC236}">
                <a16:creationId xmlns:a16="http://schemas.microsoft.com/office/drawing/2014/main" id="{3CFA1BC3-5206-D14B-47C3-A4F9B5000CE0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1199505" y="3815995"/>
            <a:ext cx="468000" cy="360000"/>
          </a:xfrm>
          <a:solidFill>
            <a:schemeClr val="accent1"/>
          </a:solidFill>
        </p:spPr>
        <p:txBody>
          <a:bodyPr anchor="ctr"/>
          <a:lstStyle>
            <a:lvl1pPr algn="ctr" rtl="0">
              <a:defRPr sz="1600" cap="all" spc="400" baseline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04</a:t>
            </a:r>
          </a:p>
        </p:txBody>
      </p:sp>
      <p:sp>
        <p:nvSpPr>
          <p:cNvPr id="71" name="Textplatzhalter 8">
            <a:extLst>
              <a:ext uri="{FF2B5EF4-FFF2-40B4-BE49-F238E27FC236}">
                <a16:creationId xmlns:a16="http://schemas.microsoft.com/office/drawing/2014/main" id="{23A837E2-8F20-7805-91CF-1950FB51A713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1199505" y="4553878"/>
            <a:ext cx="468000" cy="360000"/>
          </a:xfrm>
          <a:solidFill>
            <a:schemeClr val="accent1"/>
          </a:solidFill>
        </p:spPr>
        <p:txBody>
          <a:bodyPr anchor="ctr"/>
          <a:lstStyle>
            <a:lvl1pPr algn="ctr" rtl="0">
              <a:defRPr sz="1600" cap="all" spc="400" baseline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05</a:t>
            </a:r>
          </a:p>
        </p:txBody>
      </p:sp>
    </p:spTree>
    <p:extLst>
      <p:ext uri="{BB962C8B-B14F-4D97-AF65-F5344CB8AC3E}">
        <p14:creationId xmlns:p14="http://schemas.microsoft.com/office/powerpoint/2010/main" val="20346238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Benutzerdefiniertes Layou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platzhalter 7">
            <a:extLst>
              <a:ext uri="{FF2B5EF4-FFF2-40B4-BE49-F238E27FC236}">
                <a16:creationId xmlns:a16="http://schemas.microsoft.com/office/drawing/2014/main" id="{9F51B549-0002-BA3A-3858-4AEA29C9961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429867" y="3190098"/>
            <a:ext cx="5332266" cy="477805"/>
          </a:xfrm>
          <a:noFill/>
          <a:ln w="19050">
            <a:solidFill>
              <a:schemeClr val="tx1"/>
            </a:solidFill>
          </a:ln>
        </p:spPr>
        <p:txBody>
          <a:bodyPr wrap="none" lIns="360000" tIns="72000" rIns="360000" bIns="72000" rtlCol="0" anchor="ctr" anchorCtr="0">
            <a:spAutoFit/>
          </a:bodyPr>
          <a:lstStyle>
            <a:lvl1pPr algn="ctr">
              <a:defRPr lang="de-DE" sz="2400" cap="all" baseline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lang="de-DE" sz="1800" smtClean="0">
                <a:latin typeface="+mn-lt"/>
                <a:cs typeface="+mn-cs"/>
              </a:defRPr>
            </a:lvl2pPr>
            <a:lvl3pPr>
              <a:defRPr lang="de-DE" sz="1800" smtClean="0">
                <a:latin typeface="+mn-lt"/>
                <a:cs typeface="+mn-cs"/>
              </a:defRPr>
            </a:lvl3pPr>
            <a:lvl4pPr>
              <a:defRPr lang="de-DE" sz="1800" smtClean="0">
                <a:latin typeface="+mn-lt"/>
                <a:cs typeface="+mn-cs"/>
              </a:defRPr>
            </a:lvl4pPr>
            <a:lvl5pPr>
              <a:defRPr lang="de-DE" sz="1800">
                <a:latin typeface="+mn-lt"/>
                <a:cs typeface="+mn-cs"/>
              </a:defRPr>
            </a:lvl5pPr>
          </a:lstStyle>
          <a:p>
            <a:pPr lvl="0" algn="ctr">
              <a:spcBef>
                <a:spcPts val="400"/>
              </a:spcBef>
              <a:spcAft>
                <a:spcPts val="400"/>
              </a:spcAft>
            </a:pPr>
            <a:r>
              <a:rPr lang="de-DE" err="1"/>
              <a:t>Trennerslide</a:t>
            </a:r>
            <a:r>
              <a:rPr lang="de-DE"/>
              <a:t> mit Aussage</a:t>
            </a:r>
          </a:p>
        </p:txBody>
      </p:sp>
      <p:grpSp>
        <p:nvGrpSpPr>
          <p:cNvPr id="22" name="Gruppieren 21">
            <a:extLst>
              <a:ext uri="{FF2B5EF4-FFF2-40B4-BE49-F238E27FC236}">
                <a16:creationId xmlns:a16="http://schemas.microsoft.com/office/drawing/2014/main" id="{1AF5CC0C-EB24-D3EE-1546-50FDCC24F3E7}"/>
              </a:ext>
            </a:extLst>
          </p:cNvPr>
          <p:cNvGrpSpPr/>
          <p:nvPr userDrawn="1"/>
        </p:nvGrpSpPr>
        <p:grpSpPr>
          <a:xfrm>
            <a:off x="10240056" y="330434"/>
            <a:ext cx="1472671" cy="212964"/>
            <a:chOff x="10240056" y="330434"/>
            <a:chExt cx="1472671" cy="212964"/>
          </a:xfrm>
        </p:grpSpPr>
        <p:sp>
          <p:nvSpPr>
            <p:cNvPr id="23" name="Freihandform: Form 7">
              <a:extLst>
                <a:ext uri="{FF2B5EF4-FFF2-40B4-BE49-F238E27FC236}">
                  <a16:creationId xmlns:a16="http://schemas.microsoft.com/office/drawing/2014/main" id="{87D4F3E3-533E-CF02-F89D-48F0360875E2}"/>
                </a:ext>
              </a:extLst>
            </p:cNvPr>
            <p:cNvSpPr/>
            <p:nvPr/>
          </p:nvSpPr>
          <p:spPr>
            <a:xfrm>
              <a:off x="10602134" y="335724"/>
              <a:ext cx="213948" cy="204724"/>
            </a:xfrm>
            <a:custGeom>
              <a:avLst/>
              <a:gdLst>
                <a:gd name="connsiteX0" fmla="*/ 160491 w 213948"/>
                <a:gd name="connsiteY0" fmla="*/ 14175 h 204724"/>
                <a:gd name="connsiteX1" fmla="*/ 163136 w 213948"/>
                <a:gd name="connsiteY1" fmla="*/ 14327 h 204724"/>
                <a:gd name="connsiteX2" fmla="*/ 176854 w 213948"/>
                <a:gd name="connsiteY2" fmla="*/ 36064 h 204724"/>
                <a:gd name="connsiteX3" fmla="*/ 176854 w 213948"/>
                <a:gd name="connsiteY3" fmla="*/ 144712 h 204724"/>
                <a:gd name="connsiteX4" fmla="*/ 49408 w 213948"/>
                <a:gd name="connsiteY4" fmla="*/ 0 h 204724"/>
                <a:gd name="connsiteX5" fmla="*/ 4834 w 213948"/>
                <a:gd name="connsiteY5" fmla="*/ 0 h 204724"/>
                <a:gd name="connsiteX6" fmla="*/ 4834 w 213948"/>
                <a:gd name="connsiteY6" fmla="*/ 13894 h 204724"/>
                <a:gd name="connsiteX7" fmla="*/ 7292 w 213948"/>
                <a:gd name="connsiteY7" fmla="*/ 14140 h 204724"/>
                <a:gd name="connsiteX8" fmla="*/ 16727 w 213948"/>
                <a:gd name="connsiteY8" fmla="*/ 21163 h 204724"/>
                <a:gd name="connsiteX9" fmla="*/ 16727 w 213948"/>
                <a:gd name="connsiteY9" fmla="*/ 164821 h 204724"/>
                <a:gd name="connsiteX10" fmla="*/ 2681 w 213948"/>
                <a:gd name="connsiteY10" fmla="*/ 188372 h 204724"/>
                <a:gd name="connsiteX11" fmla="*/ 0 w 213948"/>
                <a:gd name="connsiteY11" fmla="*/ 188513 h 204724"/>
                <a:gd name="connsiteX12" fmla="*/ 0 w 213948"/>
                <a:gd name="connsiteY12" fmla="*/ 202559 h 204724"/>
                <a:gd name="connsiteX13" fmla="*/ 54523 w 213948"/>
                <a:gd name="connsiteY13" fmla="*/ 202559 h 204724"/>
                <a:gd name="connsiteX14" fmla="*/ 54523 w 213948"/>
                <a:gd name="connsiteY14" fmla="*/ 188665 h 204724"/>
                <a:gd name="connsiteX15" fmla="*/ 51936 w 213948"/>
                <a:gd name="connsiteY15" fmla="*/ 188466 h 204724"/>
                <a:gd name="connsiteX16" fmla="*/ 38580 w 213948"/>
                <a:gd name="connsiteY16" fmla="*/ 162457 h 204724"/>
                <a:gd name="connsiteX17" fmla="*/ 38580 w 213948"/>
                <a:gd name="connsiteY17" fmla="*/ 46048 h 204724"/>
                <a:gd name="connsiteX18" fmla="*/ 177873 w 213948"/>
                <a:gd name="connsiteY18" fmla="*/ 203776 h 204724"/>
                <a:gd name="connsiteX19" fmla="*/ 178716 w 213948"/>
                <a:gd name="connsiteY19" fmla="*/ 204724 h 204724"/>
                <a:gd name="connsiteX20" fmla="*/ 198708 w 213948"/>
                <a:gd name="connsiteY20" fmla="*/ 204724 h 204724"/>
                <a:gd name="connsiteX21" fmla="*/ 198708 w 213948"/>
                <a:gd name="connsiteY21" fmla="*/ 39271 h 204724"/>
                <a:gd name="connsiteX22" fmla="*/ 211373 w 213948"/>
                <a:gd name="connsiteY22" fmla="*/ 14421 h 204724"/>
                <a:gd name="connsiteX23" fmla="*/ 213948 w 213948"/>
                <a:gd name="connsiteY23" fmla="*/ 14198 h 204724"/>
                <a:gd name="connsiteX24" fmla="*/ 213948 w 213948"/>
                <a:gd name="connsiteY24" fmla="*/ 0 h 204724"/>
                <a:gd name="connsiteX25" fmla="*/ 160491 w 213948"/>
                <a:gd name="connsiteY25" fmla="*/ 0 h 2047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213948" h="204724">
                  <a:moveTo>
                    <a:pt x="160491" y="14175"/>
                  </a:moveTo>
                  <a:lnTo>
                    <a:pt x="163136" y="14327"/>
                  </a:lnTo>
                  <a:cubicBezTo>
                    <a:pt x="176878" y="15111"/>
                    <a:pt x="176878" y="17909"/>
                    <a:pt x="176854" y="36064"/>
                  </a:cubicBezTo>
                  <a:lnTo>
                    <a:pt x="176854" y="144712"/>
                  </a:lnTo>
                  <a:lnTo>
                    <a:pt x="49408" y="0"/>
                  </a:lnTo>
                  <a:lnTo>
                    <a:pt x="4834" y="0"/>
                  </a:lnTo>
                  <a:lnTo>
                    <a:pt x="4834" y="13894"/>
                  </a:lnTo>
                  <a:lnTo>
                    <a:pt x="7292" y="14140"/>
                  </a:lnTo>
                  <a:cubicBezTo>
                    <a:pt x="14655" y="14643"/>
                    <a:pt x="16586" y="17101"/>
                    <a:pt x="16727" y="21163"/>
                  </a:cubicBezTo>
                  <a:lnTo>
                    <a:pt x="16727" y="164821"/>
                  </a:lnTo>
                  <a:cubicBezTo>
                    <a:pt x="16727" y="182882"/>
                    <a:pt x="16727" y="187728"/>
                    <a:pt x="2681" y="188372"/>
                  </a:cubicBezTo>
                  <a:lnTo>
                    <a:pt x="0" y="188513"/>
                  </a:lnTo>
                  <a:lnTo>
                    <a:pt x="0" y="202559"/>
                  </a:lnTo>
                  <a:lnTo>
                    <a:pt x="54523" y="202559"/>
                  </a:lnTo>
                  <a:lnTo>
                    <a:pt x="54523" y="188665"/>
                  </a:lnTo>
                  <a:lnTo>
                    <a:pt x="51936" y="188466"/>
                  </a:lnTo>
                  <a:cubicBezTo>
                    <a:pt x="38557" y="187424"/>
                    <a:pt x="38569" y="182145"/>
                    <a:pt x="38580" y="162457"/>
                  </a:cubicBezTo>
                  <a:lnTo>
                    <a:pt x="38580" y="46048"/>
                  </a:lnTo>
                  <a:lnTo>
                    <a:pt x="177873" y="203776"/>
                  </a:lnTo>
                  <a:lnTo>
                    <a:pt x="178716" y="204724"/>
                  </a:lnTo>
                  <a:lnTo>
                    <a:pt x="198708" y="204724"/>
                  </a:lnTo>
                  <a:lnTo>
                    <a:pt x="198708" y="39271"/>
                  </a:lnTo>
                  <a:cubicBezTo>
                    <a:pt x="198708" y="19080"/>
                    <a:pt x="199797" y="15521"/>
                    <a:pt x="211373" y="14421"/>
                  </a:cubicBezTo>
                  <a:lnTo>
                    <a:pt x="213948" y="14198"/>
                  </a:lnTo>
                  <a:lnTo>
                    <a:pt x="213948" y="0"/>
                  </a:lnTo>
                  <a:lnTo>
                    <a:pt x="160491" y="0"/>
                  </a:lnTo>
                  <a:close/>
                </a:path>
              </a:pathLst>
            </a:custGeom>
            <a:solidFill>
              <a:srgbClr val="000000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4" name="Freihandform: Form 8">
              <a:extLst>
                <a:ext uri="{FF2B5EF4-FFF2-40B4-BE49-F238E27FC236}">
                  <a16:creationId xmlns:a16="http://schemas.microsoft.com/office/drawing/2014/main" id="{DD441C0B-AAA3-95D6-FF19-26A1F43B8FF5}"/>
                </a:ext>
              </a:extLst>
            </p:cNvPr>
            <p:cNvSpPr/>
            <p:nvPr/>
          </p:nvSpPr>
          <p:spPr>
            <a:xfrm>
              <a:off x="10240056" y="330434"/>
              <a:ext cx="150166" cy="212964"/>
            </a:xfrm>
            <a:custGeom>
              <a:avLst/>
              <a:gdLst>
                <a:gd name="connsiteX0" fmla="*/ 87918 w 150166"/>
                <a:gd name="connsiteY0" fmla="*/ 86267 h 212964"/>
                <a:gd name="connsiteX1" fmla="*/ 87918 w 150166"/>
                <a:gd name="connsiteY1" fmla="*/ 86267 h 212964"/>
                <a:gd name="connsiteX2" fmla="*/ 43309 w 150166"/>
                <a:gd name="connsiteY2" fmla="*/ 46282 h 212964"/>
                <a:gd name="connsiteX3" fmla="*/ 73427 w 150166"/>
                <a:gd name="connsiteY3" fmla="*/ 17078 h 212964"/>
                <a:gd name="connsiteX4" fmla="*/ 120248 w 150166"/>
                <a:gd name="connsiteY4" fmla="*/ 39739 h 212964"/>
                <a:gd name="connsiteX5" fmla="*/ 121032 w 150166"/>
                <a:gd name="connsiteY5" fmla="*/ 41331 h 212964"/>
                <a:gd name="connsiteX6" fmla="*/ 136109 w 150166"/>
                <a:gd name="connsiteY6" fmla="*/ 41167 h 212964"/>
                <a:gd name="connsiteX7" fmla="*/ 129589 w 150166"/>
                <a:gd name="connsiteY7" fmla="*/ 3078 h 212964"/>
                <a:gd name="connsiteX8" fmla="*/ 120026 w 150166"/>
                <a:gd name="connsiteY8" fmla="*/ 3078 h 212964"/>
                <a:gd name="connsiteX9" fmla="*/ 118551 w 150166"/>
                <a:gd name="connsiteY9" fmla="*/ 3746 h 212964"/>
                <a:gd name="connsiteX10" fmla="*/ 110977 w 150166"/>
                <a:gd name="connsiteY10" fmla="*/ 5384 h 212964"/>
                <a:gd name="connsiteX11" fmla="*/ 101438 w 150166"/>
                <a:gd name="connsiteY11" fmla="*/ 3804 h 212964"/>
                <a:gd name="connsiteX12" fmla="*/ 95807 w 150166"/>
                <a:gd name="connsiteY12" fmla="*/ 2634 h 212964"/>
                <a:gd name="connsiteX13" fmla="*/ 69412 w 150166"/>
                <a:gd name="connsiteY13" fmla="*/ 0 h 212964"/>
                <a:gd name="connsiteX14" fmla="*/ 5103 w 150166"/>
                <a:gd name="connsiteY14" fmla="*/ 55096 h 212964"/>
                <a:gd name="connsiteX15" fmla="*/ 63817 w 150166"/>
                <a:gd name="connsiteY15" fmla="*/ 117415 h 212964"/>
                <a:gd name="connsiteX16" fmla="*/ 110966 w 150166"/>
                <a:gd name="connsiteY16" fmla="*/ 162094 h 212964"/>
                <a:gd name="connsiteX17" fmla="*/ 72093 w 150166"/>
                <a:gd name="connsiteY17" fmla="*/ 193944 h 212964"/>
                <a:gd name="connsiteX18" fmla="*/ 15030 w 150166"/>
                <a:gd name="connsiteY18" fmla="*/ 167174 h 212964"/>
                <a:gd name="connsiteX19" fmla="*/ 14327 w 150166"/>
                <a:gd name="connsiteY19" fmla="*/ 165418 h 212964"/>
                <a:gd name="connsiteX20" fmla="*/ 0 w 150166"/>
                <a:gd name="connsiteY20" fmla="*/ 165418 h 212964"/>
                <a:gd name="connsiteX21" fmla="*/ 6368 w 150166"/>
                <a:gd name="connsiteY21" fmla="*/ 208283 h 212964"/>
                <a:gd name="connsiteX22" fmla="*/ 17932 w 150166"/>
                <a:gd name="connsiteY22" fmla="*/ 208283 h 212964"/>
                <a:gd name="connsiteX23" fmla="*/ 18740 w 150166"/>
                <a:gd name="connsiteY23" fmla="*/ 207510 h 212964"/>
                <a:gd name="connsiteX24" fmla="*/ 25997 w 150166"/>
                <a:gd name="connsiteY24" fmla="*/ 205895 h 212964"/>
                <a:gd name="connsiteX25" fmla="*/ 38393 w 150166"/>
                <a:gd name="connsiteY25" fmla="*/ 208107 h 212964"/>
                <a:gd name="connsiteX26" fmla="*/ 74445 w 150166"/>
                <a:gd name="connsiteY26" fmla="*/ 212965 h 212964"/>
                <a:gd name="connsiteX27" fmla="*/ 150167 w 150166"/>
                <a:gd name="connsiteY27" fmla="*/ 152648 h 212964"/>
                <a:gd name="connsiteX28" fmla="*/ 87930 w 150166"/>
                <a:gd name="connsiteY28" fmla="*/ 86267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150166" h="212964">
                  <a:moveTo>
                    <a:pt x="87918" y="86267"/>
                  </a:moveTo>
                  <a:lnTo>
                    <a:pt x="87918" y="86267"/>
                  </a:lnTo>
                  <a:cubicBezTo>
                    <a:pt x="64976" y="74750"/>
                    <a:pt x="43309" y="63864"/>
                    <a:pt x="43309" y="46282"/>
                  </a:cubicBezTo>
                  <a:cubicBezTo>
                    <a:pt x="43309" y="34507"/>
                    <a:pt x="52884" y="17078"/>
                    <a:pt x="73427" y="17078"/>
                  </a:cubicBezTo>
                  <a:cubicBezTo>
                    <a:pt x="97142" y="17078"/>
                    <a:pt x="111305" y="23574"/>
                    <a:pt x="120248" y="39739"/>
                  </a:cubicBezTo>
                  <a:lnTo>
                    <a:pt x="121032" y="41331"/>
                  </a:lnTo>
                  <a:lnTo>
                    <a:pt x="136109" y="41167"/>
                  </a:lnTo>
                  <a:lnTo>
                    <a:pt x="129589" y="3078"/>
                  </a:lnTo>
                  <a:lnTo>
                    <a:pt x="120026" y="3078"/>
                  </a:lnTo>
                  <a:lnTo>
                    <a:pt x="118551" y="3746"/>
                  </a:lnTo>
                  <a:cubicBezTo>
                    <a:pt x="116205" y="4922"/>
                    <a:pt x="113600" y="5486"/>
                    <a:pt x="110977" y="5384"/>
                  </a:cubicBezTo>
                  <a:cubicBezTo>
                    <a:pt x="106998" y="5232"/>
                    <a:pt x="105242" y="4577"/>
                    <a:pt x="101438" y="3804"/>
                  </a:cubicBezTo>
                  <a:cubicBezTo>
                    <a:pt x="99822" y="3465"/>
                    <a:pt x="98031" y="3008"/>
                    <a:pt x="95807" y="2634"/>
                  </a:cubicBezTo>
                  <a:cubicBezTo>
                    <a:pt x="87117" y="890"/>
                    <a:pt x="78276" y="8"/>
                    <a:pt x="69412" y="0"/>
                  </a:cubicBezTo>
                  <a:cubicBezTo>
                    <a:pt x="33945" y="0"/>
                    <a:pt x="5103" y="24710"/>
                    <a:pt x="5103" y="55096"/>
                  </a:cubicBezTo>
                  <a:cubicBezTo>
                    <a:pt x="5103" y="85846"/>
                    <a:pt x="34952" y="101917"/>
                    <a:pt x="63817" y="117415"/>
                  </a:cubicBezTo>
                  <a:cubicBezTo>
                    <a:pt x="88059" y="130455"/>
                    <a:pt x="110966" y="142804"/>
                    <a:pt x="110966" y="162094"/>
                  </a:cubicBezTo>
                  <a:cubicBezTo>
                    <a:pt x="110966" y="180249"/>
                    <a:pt x="94251" y="193944"/>
                    <a:pt x="72093" y="193944"/>
                  </a:cubicBezTo>
                  <a:cubicBezTo>
                    <a:pt x="41799" y="193944"/>
                    <a:pt x="23130" y="185177"/>
                    <a:pt x="15030" y="167174"/>
                  </a:cubicBezTo>
                  <a:lnTo>
                    <a:pt x="14327" y="165418"/>
                  </a:lnTo>
                  <a:lnTo>
                    <a:pt x="0" y="165418"/>
                  </a:lnTo>
                  <a:lnTo>
                    <a:pt x="6368" y="208283"/>
                  </a:lnTo>
                  <a:lnTo>
                    <a:pt x="17932" y="208283"/>
                  </a:lnTo>
                  <a:lnTo>
                    <a:pt x="18740" y="207510"/>
                  </a:lnTo>
                  <a:cubicBezTo>
                    <a:pt x="20461" y="205965"/>
                    <a:pt x="22603" y="205860"/>
                    <a:pt x="25997" y="205895"/>
                  </a:cubicBezTo>
                  <a:cubicBezTo>
                    <a:pt x="29392" y="205930"/>
                    <a:pt x="33313" y="206878"/>
                    <a:pt x="38393" y="208107"/>
                  </a:cubicBezTo>
                  <a:cubicBezTo>
                    <a:pt x="50154" y="211257"/>
                    <a:pt x="62270" y="212889"/>
                    <a:pt x="74445" y="212965"/>
                  </a:cubicBezTo>
                  <a:cubicBezTo>
                    <a:pt x="118328" y="212965"/>
                    <a:pt x="150167" y="187600"/>
                    <a:pt x="150167" y="152648"/>
                  </a:cubicBezTo>
                  <a:cubicBezTo>
                    <a:pt x="150167" y="117696"/>
                    <a:pt x="117052" y="100922"/>
                    <a:pt x="87930" y="86267"/>
                  </a:cubicBezTo>
                </a:path>
              </a:pathLst>
            </a:custGeom>
            <a:solidFill>
              <a:srgbClr val="000000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5" name="Freihandform: Form 9">
              <a:extLst>
                <a:ext uri="{FF2B5EF4-FFF2-40B4-BE49-F238E27FC236}">
                  <a16:creationId xmlns:a16="http://schemas.microsoft.com/office/drawing/2014/main" id="{76FDB872-DA21-BBD9-6601-383B7EB275C5}"/>
                </a:ext>
              </a:extLst>
            </p:cNvPr>
            <p:cNvSpPr/>
            <p:nvPr/>
          </p:nvSpPr>
          <p:spPr>
            <a:xfrm>
              <a:off x="10421346" y="335748"/>
              <a:ext cx="149780" cy="202570"/>
            </a:xfrm>
            <a:custGeom>
              <a:avLst/>
              <a:gdLst>
                <a:gd name="connsiteX0" fmla="*/ 10184 w 149780"/>
                <a:gd name="connsiteY0" fmla="*/ 176725 h 202570"/>
                <a:gd name="connsiteX1" fmla="*/ 2540 w 149780"/>
                <a:gd name="connsiteY1" fmla="*/ 187986 h 202570"/>
                <a:gd name="connsiteX2" fmla="*/ 0 w 149780"/>
                <a:gd name="connsiteY2" fmla="*/ 188232 h 202570"/>
                <a:gd name="connsiteX3" fmla="*/ 0 w 149780"/>
                <a:gd name="connsiteY3" fmla="*/ 202571 h 202570"/>
                <a:gd name="connsiteX4" fmla="*/ 144864 w 149780"/>
                <a:gd name="connsiteY4" fmla="*/ 202571 h 202570"/>
                <a:gd name="connsiteX5" fmla="*/ 149780 w 149780"/>
                <a:gd name="connsiteY5" fmla="*/ 162059 h 202570"/>
                <a:gd name="connsiteX6" fmla="*/ 134563 w 149780"/>
                <a:gd name="connsiteY6" fmla="*/ 162176 h 202570"/>
                <a:gd name="connsiteX7" fmla="*/ 133943 w 149780"/>
                <a:gd name="connsiteY7" fmla="*/ 164107 h 202570"/>
                <a:gd name="connsiteX8" fmla="*/ 101379 w 149780"/>
                <a:gd name="connsiteY8" fmla="*/ 182754 h 202570"/>
                <a:gd name="connsiteX9" fmla="*/ 64192 w 149780"/>
                <a:gd name="connsiteY9" fmla="*/ 182754 h 202570"/>
                <a:gd name="connsiteX10" fmla="*/ 49244 w 149780"/>
                <a:gd name="connsiteY10" fmla="*/ 162749 h 202570"/>
                <a:gd name="connsiteX11" fmla="*/ 49244 w 149780"/>
                <a:gd name="connsiteY11" fmla="*/ 107875 h 202570"/>
                <a:gd name="connsiteX12" fmla="*/ 89042 w 149780"/>
                <a:gd name="connsiteY12" fmla="*/ 107875 h 202570"/>
                <a:gd name="connsiteX13" fmla="*/ 107630 w 149780"/>
                <a:gd name="connsiteY13" fmla="*/ 118878 h 202570"/>
                <a:gd name="connsiteX14" fmla="*/ 108051 w 149780"/>
                <a:gd name="connsiteY14" fmla="*/ 121219 h 202570"/>
                <a:gd name="connsiteX15" fmla="*/ 122542 w 149780"/>
                <a:gd name="connsiteY15" fmla="*/ 121219 h 202570"/>
                <a:gd name="connsiteX16" fmla="*/ 122542 w 149780"/>
                <a:gd name="connsiteY16" fmla="*/ 75569 h 202570"/>
                <a:gd name="connsiteX17" fmla="*/ 108285 w 149780"/>
                <a:gd name="connsiteY17" fmla="*/ 75569 h 202570"/>
                <a:gd name="connsiteX18" fmla="*/ 107934 w 149780"/>
                <a:gd name="connsiteY18" fmla="*/ 77910 h 202570"/>
                <a:gd name="connsiteX19" fmla="*/ 89042 w 149780"/>
                <a:gd name="connsiteY19" fmla="*/ 88105 h 202570"/>
                <a:gd name="connsiteX20" fmla="*/ 49244 w 149780"/>
                <a:gd name="connsiteY20" fmla="*/ 88105 h 202570"/>
                <a:gd name="connsiteX21" fmla="*/ 49244 w 149780"/>
                <a:gd name="connsiteY21" fmla="*/ 19829 h 202570"/>
                <a:gd name="connsiteX22" fmla="*/ 102550 w 149780"/>
                <a:gd name="connsiteY22" fmla="*/ 19829 h 202570"/>
                <a:gd name="connsiteX23" fmla="*/ 124310 w 149780"/>
                <a:gd name="connsiteY23" fmla="*/ 34226 h 202570"/>
                <a:gd name="connsiteX24" fmla="*/ 124883 w 149780"/>
                <a:gd name="connsiteY24" fmla="*/ 36286 h 202570"/>
                <a:gd name="connsiteX25" fmla="*/ 140100 w 149780"/>
                <a:gd name="connsiteY25" fmla="*/ 36286 h 202570"/>
                <a:gd name="connsiteX26" fmla="*/ 137595 w 149780"/>
                <a:gd name="connsiteY26" fmla="*/ 0 h 202570"/>
                <a:gd name="connsiteX27" fmla="*/ 222 w 149780"/>
                <a:gd name="connsiteY27" fmla="*/ 0 h 202570"/>
                <a:gd name="connsiteX28" fmla="*/ 222 w 149780"/>
                <a:gd name="connsiteY28" fmla="*/ 14198 h 202570"/>
                <a:gd name="connsiteX29" fmla="*/ 2798 w 149780"/>
                <a:gd name="connsiteY29" fmla="*/ 14374 h 202570"/>
                <a:gd name="connsiteX30" fmla="*/ 10207 w 149780"/>
                <a:gd name="connsiteY30" fmla="*/ 32412 h 2025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149780" h="202570">
                  <a:moveTo>
                    <a:pt x="10184" y="176725"/>
                  </a:moveTo>
                  <a:cubicBezTo>
                    <a:pt x="9973" y="184626"/>
                    <a:pt x="9774" y="187260"/>
                    <a:pt x="2540" y="187986"/>
                  </a:cubicBezTo>
                  <a:lnTo>
                    <a:pt x="0" y="188232"/>
                  </a:lnTo>
                  <a:lnTo>
                    <a:pt x="0" y="202571"/>
                  </a:lnTo>
                  <a:lnTo>
                    <a:pt x="144864" y="202571"/>
                  </a:lnTo>
                  <a:lnTo>
                    <a:pt x="149780" y="162059"/>
                  </a:lnTo>
                  <a:lnTo>
                    <a:pt x="134563" y="162176"/>
                  </a:lnTo>
                  <a:lnTo>
                    <a:pt x="133943" y="164107"/>
                  </a:lnTo>
                  <a:cubicBezTo>
                    <a:pt x="127927" y="182964"/>
                    <a:pt x="121734" y="182906"/>
                    <a:pt x="101379" y="182754"/>
                  </a:cubicBezTo>
                  <a:lnTo>
                    <a:pt x="64192" y="182754"/>
                  </a:lnTo>
                  <a:cubicBezTo>
                    <a:pt x="49654" y="182754"/>
                    <a:pt x="49244" y="179909"/>
                    <a:pt x="49244" y="162749"/>
                  </a:cubicBezTo>
                  <a:lnTo>
                    <a:pt x="49244" y="107875"/>
                  </a:lnTo>
                  <a:lnTo>
                    <a:pt x="89042" y="107875"/>
                  </a:lnTo>
                  <a:cubicBezTo>
                    <a:pt x="102292" y="107875"/>
                    <a:pt x="105066" y="108168"/>
                    <a:pt x="107630" y="118878"/>
                  </a:cubicBezTo>
                  <a:lnTo>
                    <a:pt x="108051" y="121219"/>
                  </a:lnTo>
                  <a:lnTo>
                    <a:pt x="122542" y="121219"/>
                  </a:lnTo>
                  <a:lnTo>
                    <a:pt x="122542" y="75569"/>
                  </a:lnTo>
                  <a:lnTo>
                    <a:pt x="108285" y="75569"/>
                  </a:lnTo>
                  <a:lnTo>
                    <a:pt x="107934" y="77910"/>
                  </a:lnTo>
                  <a:cubicBezTo>
                    <a:pt x="106248" y="87368"/>
                    <a:pt x="103158" y="88105"/>
                    <a:pt x="89042" y="88105"/>
                  </a:cubicBezTo>
                  <a:lnTo>
                    <a:pt x="49244" y="88105"/>
                  </a:lnTo>
                  <a:lnTo>
                    <a:pt x="49244" y="19829"/>
                  </a:lnTo>
                  <a:lnTo>
                    <a:pt x="102550" y="19829"/>
                  </a:lnTo>
                  <a:cubicBezTo>
                    <a:pt x="116233" y="19829"/>
                    <a:pt x="120716" y="19829"/>
                    <a:pt x="124310" y="34226"/>
                  </a:cubicBezTo>
                  <a:lnTo>
                    <a:pt x="124883" y="36286"/>
                  </a:lnTo>
                  <a:lnTo>
                    <a:pt x="140100" y="36286"/>
                  </a:lnTo>
                  <a:lnTo>
                    <a:pt x="137595" y="0"/>
                  </a:lnTo>
                  <a:lnTo>
                    <a:pt x="222" y="0"/>
                  </a:lnTo>
                  <a:lnTo>
                    <a:pt x="222" y="14198"/>
                  </a:lnTo>
                  <a:lnTo>
                    <a:pt x="2798" y="14374"/>
                  </a:lnTo>
                  <a:cubicBezTo>
                    <a:pt x="10102" y="15252"/>
                    <a:pt x="10113" y="17886"/>
                    <a:pt x="10207" y="32412"/>
                  </a:cubicBezTo>
                  <a:close/>
                </a:path>
              </a:pathLst>
            </a:custGeom>
            <a:solidFill>
              <a:srgbClr val="000000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6" name="Freihandform: Form 10">
              <a:extLst>
                <a:ext uri="{FF2B5EF4-FFF2-40B4-BE49-F238E27FC236}">
                  <a16:creationId xmlns:a16="http://schemas.microsoft.com/office/drawing/2014/main" id="{AC078878-05C7-ADF7-2794-E235A74103FD}"/>
                </a:ext>
              </a:extLst>
            </p:cNvPr>
            <p:cNvSpPr/>
            <p:nvPr/>
          </p:nvSpPr>
          <p:spPr>
            <a:xfrm>
              <a:off x="11496262" y="332657"/>
              <a:ext cx="216465" cy="208540"/>
            </a:xfrm>
            <a:custGeom>
              <a:avLst/>
              <a:gdLst>
                <a:gd name="connsiteX0" fmla="*/ 145742 w 216465"/>
                <a:gd name="connsiteY0" fmla="*/ 131087 h 208540"/>
                <a:gd name="connsiteX1" fmla="*/ 125609 w 216465"/>
                <a:gd name="connsiteY1" fmla="*/ 111902 h 208540"/>
                <a:gd name="connsiteX2" fmla="*/ 162609 w 216465"/>
                <a:gd name="connsiteY2" fmla="*/ 59556 h 208540"/>
                <a:gd name="connsiteX3" fmla="*/ 74738 w 216465"/>
                <a:gd name="connsiteY3" fmla="*/ 0 h 208540"/>
                <a:gd name="connsiteX4" fmla="*/ 36321 w 216465"/>
                <a:gd name="connsiteY4" fmla="*/ 632 h 208540"/>
                <a:gd name="connsiteX5" fmla="*/ 15147 w 216465"/>
                <a:gd name="connsiteY5" fmla="*/ 1662 h 208540"/>
                <a:gd name="connsiteX6" fmla="*/ 6450 w 216465"/>
                <a:gd name="connsiteY6" fmla="*/ 2247 h 208540"/>
                <a:gd name="connsiteX7" fmla="*/ 6450 w 216465"/>
                <a:gd name="connsiteY7" fmla="*/ 16586 h 208540"/>
                <a:gd name="connsiteX8" fmla="*/ 8978 w 216465"/>
                <a:gd name="connsiteY8" fmla="*/ 16703 h 208540"/>
                <a:gd name="connsiteX9" fmla="*/ 17698 w 216465"/>
                <a:gd name="connsiteY9" fmla="*/ 25061 h 208540"/>
                <a:gd name="connsiteX10" fmla="*/ 17581 w 216465"/>
                <a:gd name="connsiteY10" fmla="*/ 173413 h 208540"/>
                <a:gd name="connsiteX11" fmla="*/ 2669 w 216465"/>
                <a:gd name="connsiteY11" fmla="*/ 191486 h 208540"/>
                <a:gd name="connsiteX12" fmla="*/ 0 w 216465"/>
                <a:gd name="connsiteY12" fmla="*/ 191626 h 208540"/>
                <a:gd name="connsiteX13" fmla="*/ 0 w 216465"/>
                <a:gd name="connsiteY13" fmla="*/ 205672 h 208540"/>
                <a:gd name="connsiteX14" fmla="*/ 76435 w 216465"/>
                <a:gd name="connsiteY14" fmla="*/ 205672 h 208540"/>
                <a:gd name="connsiteX15" fmla="*/ 76435 w 216465"/>
                <a:gd name="connsiteY15" fmla="*/ 191544 h 208540"/>
                <a:gd name="connsiteX16" fmla="*/ 73790 w 216465"/>
                <a:gd name="connsiteY16" fmla="*/ 191544 h 208540"/>
                <a:gd name="connsiteX17" fmla="*/ 58374 w 216465"/>
                <a:gd name="connsiteY17" fmla="*/ 164353 h 208540"/>
                <a:gd name="connsiteX18" fmla="*/ 58374 w 216465"/>
                <a:gd name="connsiteY18" fmla="*/ 124192 h 208540"/>
                <a:gd name="connsiteX19" fmla="*/ 82651 w 216465"/>
                <a:gd name="connsiteY19" fmla="*/ 123982 h 208540"/>
                <a:gd name="connsiteX20" fmla="*/ 115425 w 216465"/>
                <a:gd name="connsiteY20" fmla="*/ 153526 h 208540"/>
                <a:gd name="connsiteX21" fmla="*/ 132035 w 216465"/>
                <a:gd name="connsiteY21" fmla="*/ 170276 h 208540"/>
                <a:gd name="connsiteX22" fmla="*/ 141926 w 216465"/>
                <a:gd name="connsiteY22" fmla="*/ 180612 h 208540"/>
                <a:gd name="connsiteX23" fmla="*/ 148797 w 216465"/>
                <a:gd name="connsiteY23" fmla="*/ 188232 h 208540"/>
                <a:gd name="connsiteX24" fmla="*/ 201798 w 216465"/>
                <a:gd name="connsiteY24" fmla="*/ 208540 h 208540"/>
                <a:gd name="connsiteX25" fmla="*/ 213281 w 216465"/>
                <a:gd name="connsiteY25" fmla="*/ 208376 h 208540"/>
                <a:gd name="connsiteX26" fmla="*/ 216465 w 216465"/>
                <a:gd name="connsiteY26" fmla="*/ 208306 h 208540"/>
                <a:gd name="connsiteX27" fmla="*/ 216465 w 216465"/>
                <a:gd name="connsiteY27" fmla="*/ 194201 h 208540"/>
                <a:gd name="connsiteX28" fmla="*/ 213504 w 216465"/>
                <a:gd name="connsiteY28" fmla="*/ 193932 h 208540"/>
                <a:gd name="connsiteX29" fmla="*/ 213504 w 216465"/>
                <a:gd name="connsiteY29" fmla="*/ 193932 h 208540"/>
                <a:gd name="connsiteX30" fmla="*/ 190316 w 216465"/>
                <a:gd name="connsiteY30" fmla="*/ 177159 h 208540"/>
                <a:gd name="connsiteX31" fmla="*/ 171131 w 216465"/>
                <a:gd name="connsiteY31" fmla="*/ 156967 h 208540"/>
                <a:gd name="connsiteX32" fmla="*/ 119031 w 216465"/>
                <a:gd name="connsiteY32" fmla="*/ 62728 h 208540"/>
                <a:gd name="connsiteX33" fmla="*/ 65713 w 216465"/>
                <a:gd name="connsiteY33" fmla="*/ 110041 h 208540"/>
                <a:gd name="connsiteX34" fmla="*/ 58397 w 216465"/>
                <a:gd name="connsiteY34" fmla="*/ 109725 h 208540"/>
                <a:gd name="connsiteX35" fmla="*/ 58397 w 216465"/>
                <a:gd name="connsiteY35" fmla="*/ 15334 h 208540"/>
                <a:gd name="connsiteX36" fmla="*/ 71542 w 216465"/>
                <a:gd name="connsiteY36" fmla="*/ 15182 h 208540"/>
                <a:gd name="connsiteX37" fmla="*/ 119031 w 216465"/>
                <a:gd name="connsiteY37" fmla="*/ 62728 h 2085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16465" h="208540">
                  <a:moveTo>
                    <a:pt x="145742" y="131087"/>
                  </a:moveTo>
                  <a:cubicBezTo>
                    <a:pt x="143541" y="128874"/>
                    <a:pt x="132632" y="117930"/>
                    <a:pt x="125609" y="111902"/>
                  </a:cubicBezTo>
                  <a:cubicBezTo>
                    <a:pt x="150190" y="100325"/>
                    <a:pt x="162609" y="82721"/>
                    <a:pt x="162609" y="59556"/>
                  </a:cubicBezTo>
                  <a:cubicBezTo>
                    <a:pt x="162609" y="41647"/>
                    <a:pt x="154053" y="0"/>
                    <a:pt x="74738" y="0"/>
                  </a:cubicBezTo>
                  <a:cubicBezTo>
                    <a:pt x="68242" y="0"/>
                    <a:pt x="53037" y="0"/>
                    <a:pt x="36321" y="632"/>
                  </a:cubicBezTo>
                  <a:cubicBezTo>
                    <a:pt x="26243" y="1077"/>
                    <a:pt x="20332" y="1393"/>
                    <a:pt x="15147" y="1662"/>
                  </a:cubicBezTo>
                  <a:lnTo>
                    <a:pt x="6450" y="2247"/>
                  </a:lnTo>
                  <a:lnTo>
                    <a:pt x="6450" y="16586"/>
                  </a:lnTo>
                  <a:lnTo>
                    <a:pt x="8978" y="16703"/>
                  </a:lnTo>
                  <a:cubicBezTo>
                    <a:pt x="15240" y="17160"/>
                    <a:pt x="17616" y="18787"/>
                    <a:pt x="17698" y="25061"/>
                  </a:cubicBezTo>
                  <a:lnTo>
                    <a:pt x="17581" y="173413"/>
                  </a:lnTo>
                  <a:cubicBezTo>
                    <a:pt x="17195" y="185715"/>
                    <a:pt x="16411" y="190842"/>
                    <a:pt x="2669" y="191486"/>
                  </a:cubicBezTo>
                  <a:lnTo>
                    <a:pt x="0" y="191626"/>
                  </a:lnTo>
                  <a:lnTo>
                    <a:pt x="0" y="205672"/>
                  </a:lnTo>
                  <a:lnTo>
                    <a:pt x="76435" y="205672"/>
                  </a:lnTo>
                  <a:lnTo>
                    <a:pt x="76435" y="191544"/>
                  </a:lnTo>
                  <a:lnTo>
                    <a:pt x="73790" y="191544"/>
                  </a:lnTo>
                  <a:cubicBezTo>
                    <a:pt x="58362" y="190783"/>
                    <a:pt x="58374" y="187260"/>
                    <a:pt x="58374" y="164353"/>
                  </a:cubicBezTo>
                  <a:lnTo>
                    <a:pt x="58374" y="124192"/>
                  </a:lnTo>
                  <a:cubicBezTo>
                    <a:pt x="66462" y="124664"/>
                    <a:pt x="74574" y="124593"/>
                    <a:pt x="82651" y="123982"/>
                  </a:cubicBezTo>
                  <a:cubicBezTo>
                    <a:pt x="95000" y="133205"/>
                    <a:pt x="99635" y="137583"/>
                    <a:pt x="115425" y="153526"/>
                  </a:cubicBezTo>
                  <a:lnTo>
                    <a:pt x="132035" y="170276"/>
                  </a:lnTo>
                  <a:cubicBezTo>
                    <a:pt x="135804" y="174092"/>
                    <a:pt x="139058" y="177556"/>
                    <a:pt x="141926" y="180612"/>
                  </a:cubicBezTo>
                  <a:cubicBezTo>
                    <a:pt x="144525" y="183374"/>
                    <a:pt x="146784" y="185949"/>
                    <a:pt x="148797" y="188232"/>
                  </a:cubicBezTo>
                  <a:cubicBezTo>
                    <a:pt x="161087" y="202173"/>
                    <a:pt x="166706" y="208540"/>
                    <a:pt x="201798" y="208540"/>
                  </a:cubicBezTo>
                  <a:cubicBezTo>
                    <a:pt x="205310" y="208540"/>
                    <a:pt x="209044" y="208540"/>
                    <a:pt x="213281" y="208376"/>
                  </a:cubicBezTo>
                  <a:lnTo>
                    <a:pt x="216465" y="208306"/>
                  </a:lnTo>
                  <a:lnTo>
                    <a:pt x="216465" y="194201"/>
                  </a:lnTo>
                  <a:lnTo>
                    <a:pt x="213504" y="193932"/>
                  </a:lnTo>
                  <a:lnTo>
                    <a:pt x="213504" y="193932"/>
                  </a:lnTo>
                  <a:cubicBezTo>
                    <a:pt x="205228" y="193160"/>
                    <a:pt x="200253" y="187810"/>
                    <a:pt x="190316" y="177159"/>
                  </a:cubicBezTo>
                  <a:lnTo>
                    <a:pt x="171131" y="156967"/>
                  </a:lnTo>
                  <a:close/>
                  <a:moveTo>
                    <a:pt x="119031" y="62728"/>
                  </a:moveTo>
                  <a:cubicBezTo>
                    <a:pt x="119031" y="95210"/>
                    <a:pt x="104247" y="108554"/>
                    <a:pt x="65713" y="110041"/>
                  </a:cubicBezTo>
                  <a:cubicBezTo>
                    <a:pt x="64543" y="110041"/>
                    <a:pt x="61195" y="110041"/>
                    <a:pt x="58397" y="109725"/>
                  </a:cubicBezTo>
                  <a:lnTo>
                    <a:pt x="58397" y="15334"/>
                  </a:lnTo>
                  <a:cubicBezTo>
                    <a:pt x="62225" y="15182"/>
                    <a:pt x="68101" y="15182"/>
                    <a:pt x="71542" y="15182"/>
                  </a:cubicBezTo>
                  <a:cubicBezTo>
                    <a:pt x="103193" y="15170"/>
                    <a:pt x="119031" y="31159"/>
                    <a:pt x="119031" y="62728"/>
                  </a:cubicBezTo>
                  <a:close/>
                </a:path>
              </a:pathLst>
            </a:custGeom>
            <a:solidFill>
              <a:srgbClr val="000000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7" name="Freihandform: Form 11">
              <a:extLst>
                <a:ext uri="{FF2B5EF4-FFF2-40B4-BE49-F238E27FC236}">
                  <a16:creationId xmlns:a16="http://schemas.microsoft.com/office/drawing/2014/main" id="{C57FEAAF-91A0-1B23-C519-C99629CC5470}"/>
                </a:ext>
              </a:extLst>
            </p:cNvPr>
            <p:cNvSpPr/>
            <p:nvPr/>
          </p:nvSpPr>
          <p:spPr>
            <a:xfrm>
              <a:off x="10830304" y="335724"/>
              <a:ext cx="207171" cy="202652"/>
            </a:xfrm>
            <a:custGeom>
              <a:avLst/>
              <a:gdLst>
                <a:gd name="connsiteX0" fmla="*/ 121430 w 207171"/>
                <a:gd name="connsiteY0" fmla="*/ 0 h 202652"/>
                <a:gd name="connsiteX1" fmla="*/ 90762 w 207171"/>
                <a:gd name="connsiteY1" fmla="*/ 0 h 202652"/>
                <a:gd name="connsiteX2" fmla="*/ 24979 w 207171"/>
                <a:gd name="connsiteY2" fmla="*/ 164529 h 202652"/>
                <a:gd name="connsiteX3" fmla="*/ 2610 w 207171"/>
                <a:gd name="connsiteY3" fmla="*/ 188431 h 202652"/>
                <a:gd name="connsiteX4" fmla="*/ 0 w 207171"/>
                <a:gd name="connsiteY4" fmla="*/ 188606 h 202652"/>
                <a:gd name="connsiteX5" fmla="*/ 0 w 207171"/>
                <a:gd name="connsiteY5" fmla="*/ 202652 h 202652"/>
                <a:gd name="connsiteX6" fmla="*/ 56735 w 207171"/>
                <a:gd name="connsiteY6" fmla="*/ 202652 h 202652"/>
                <a:gd name="connsiteX7" fmla="*/ 56735 w 207171"/>
                <a:gd name="connsiteY7" fmla="*/ 188712 h 202652"/>
                <a:gd name="connsiteX8" fmla="*/ 54184 w 207171"/>
                <a:gd name="connsiteY8" fmla="*/ 188489 h 202652"/>
                <a:gd name="connsiteX9" fmla="*/ 41530 w 207171"/>
                <a:gd name="connsiteY9" fmla="*/ 178879 h 202652"/>
                <a:gd name="connsiteX10" fmla="*/ 44562 w 207171"/>
                <a:gd name="connsiteY10" fmla="*/ 167478 h 202652"/>
                <a:gd name="connsiteX11" fmla="*/ 59779 w 207171"/>
                <a:gd name="connsiteY11" fmla="*/ 128196 h 202652"/>
                <a:gd name="connsiteX12" fmla="*/ 129706 w 207171"/>
                <a:gd name="connsiteY12" fmla="*/ 128196 h 202652"/>
                <a:gd name="connsiteX13" fmla="*/ 144923 w 207171"/>
                <a:gd name="connsiteY13" fmla="*/ 167385 h 202652"/>
                <a:gd name="connsiteX14" fmla="*/ 148844 w 207171"/>
                <a:gd name="connsiteY14" fmla="*/ 179734 h 202652"/>
                <a:gd name="connsiteX15" fmla="*/ 148937 w 207171"/>
                <a:gd name="connsiteY15" fmla="*/ 180202 h 202652"/>
                <a:gd name="connsiteX16" fmla="*/ 147896 w 207171"/>
                <a:gd name="connsiteY16" fmla="*/ 184802 h 202652"/>
                <a:gd name="connsiteX17" fmla="*/ 136577 w 207171"/>
                <a:gd name="connsiteY17" fmla="*/ 188243 h 202652"/>
                <a:gd name="connsiteX18" fmla="*/ 134002 w 207171"/>
                <a:gd name="connsiteY18" fmla="*/ 188442 h 202652"/>
                <a:gd name="connsiteX19" fmla="*/ 134002 w 207171"/>
                <a:gd name="connsiteY19" fmla="*/ 202606 h 202652"/>
                <a:gd name="connsiteX20" fmla="*/ 207171 w 207171"/>
                <a:gd name="connsiteY20" fmla="*/ 202606 h 202652"/>
                <a:gd name="connsiteX21" fmla="*/ 207171 w 207171"/>
                <a:gd name="connsiteY21" fmla="*/ 188700 h 202652"/>
                <a:gd name="connsiteX22" fmla="*/ 204502 w 207171"/>
                <a:gd name="connsiteY22" fmla="*/ 188559 h 202652"/>
                <a:gd name="connsiteX23" fmla="*/ 184603 w 207171"/>
                <a:gd name="connsiteY23" fmla="*/ 167759 h 202652"/>
                <a:gd name="connsiteX24" fmla="*/ 121641 w 207171"/>
                <a:gd name="connsiteY24" fmla="*/ 107161 h 202652"/>
                <a:gd name="connsiteX25" fmla="*/ 67797 w 207171"/>
                <a:gd name="connsiteY25" fmla="*/ 107161 h 202652"/>
                <a:gd name="connsiteX26" fmla="*/ 95140 w 207171"/>
                <a:gd name="connsiteY26" fmla="*/ 37012 h 2026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207171" h="202652">
                  <a:moveTo>
                    <a:pt x="121430" y="0"/>
                  </a:moveTo>
                  <a:lnTo>
                    <a:pt x="90762" y="0"/>
                  </a:lnTo>
                  <a:lnTo>
                    <a:pt x="24979" y="164529"/>
                  </a:lnTo>
                  <a:cubicBezTo>
                    <a:pt x="17172" y="183994"/>
                    <a:pt x="15755" y="187506"/>
                    <a:pt x="2610" y="188431"/>
                  </a:cubicBezTo>
                  <a:lnTo>
                    <a:pt x="0" y="188606"/>
                  </a:lnTo>
                  <a:lnTo>
                    <a:pt x="0" y="202652"/>
                  </a:lnTo>
                  <a:lnTo>
                    <a:pt x="56735" y="202652"/>
                  </a:lnTo>
                  <a:lnTo>
                    <a:pt x="56735" y="188712"/>
                  </a:lnTo>
                  <a:lnTo>
                    <a:pt x="54184" y="188489"/>
                  </a:lnTo>
                  <a:cubicBezTo>
                    <a:pt x="43649" y="187319"/>
                    <a:pt x="41202" y="183315"/>
                    <a:pt x="41530" y="178879"/>
                  </a:cubicBezTo>
                  <a:cubicBezTo>
                    <a:pt x="41741" y="176105"/>
                    <a:pt x="42572" y="172839"/>
                    <a:pt x="44562" y="167478"/>
                  </a:cubicBezTo>
                  <a:lnTo>
                    <a:pt x="59779" y="128196"/>
                  </a:lnTo>
                  <a:lnTo>
                    <a:pt x="129706" y="128196"/>
                  </a:lnTo>
                  <a:lnTo>
                    <a:pt x="144923" y="167385"/>
                  </a:lnTo>
                  <a:cubicBezTo>
                    <a:pt x="147369" y="174326"/>
                    <a:pt x="147907" y="175672"/>
                    <a:pt x="148844" y="179734"/>
                  </a:cubicBezTo>
                  <a:lnTo>
                    <a:pt x="148937" y="180202"/>
                  </a:lnTo>
                  <a:cubicBezTo>
                    <a:pt x="149324" y="181814"/>
                    <a:pt x="148939" y="183513"/>
                    <a:pt x="147896" y="184802"/>
                  </a:cubicBezTo>
                  <a:cubicBezTo>
                    <a:pt x="146421" y="186651"/>
                    <a:pt x="142780" y="187763"/>
                    <a:pt x="136577" y="188243"/>
                  </a:cubicBezTo>
                  <a:lnTo>
                    <a:pt x="134002" y="188442"/>
                  </a:lnTo>
                  <a:lnTo>
                    <a:pt x="134002" y="202606"/>
                  </a:lnTo>
                  <a:lnTo>
                    <a:pt x="207171" y="202606"/>
                  </a:lnTo>
                  <a:lnTo>
                    <a:pt x="207171" y="188700"/>
                  </a:lnTo>
                  <a:lnTo>
                    <a:pt x="204502" y="188559"/>
                  </a:lnTo>
                  <a:cubicBezTo>
                    <a:pt x="191989" y="187986"/>
                    <a:pt x="190854" y="184896"/>
                    <a:pt x="184603" y="167759"/>
                  </a:cubicBezTo>
                  <a:close/>
                  <a:moveTo>
                    <a:pt x="121641" y="107161"/>
                  </a:moveTo>
                  <a:lnTo>
                    <a:pt x="67797" y="107161"/>
                  </a:lnTo>
                  <a:lnTo>
                    <a:pt x="95140" y="37012"/>
                  </a:lnTo>
                  <a:close/>
                </a:path>
              </a:pathLst>
            </a:custGeom>
            <a:solidFill>
              <a:srgbClr val="000000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8" name="Freihandform: Form 12">
              <a:extLst>
                <a:ext uri="{FF2B5EF4-FFF2-40B4-BE49-F238E27FC236}">
                  <a16:creationId xmlns:a16="http://schemas.microsoft.com/office/drawing/2014/main" id="{AB240BAD-D6E8-5BBF-CABD-A0FC29C6BB60}"/>
                </a:ext>
              </a:extLst>
            </p:cNvPr>
            <p:cNvSpPr/>
            <p:nvPr/>
          </p:nvSpPr>
          <p:spPr>
            <a:xfrm>
              <a:off x="11256925" y="330434"/>
              <a:ext cx="218794" cy="212964"/>
            </a:xfrm>
            <a:custGeom>
              <a:avLst/>
              <a:gdLst>
                <a:gd name="connsiteX0" fmla="*/ 109397 w 218794"/>
                <a:gd name="connsiteY0" fmla="*/ 0 h 212964"/>
                <a:gd name="connsiteX1" fmla="*/ 0 w 218794"/>
                <a:gd name="connsiteY1" fmla="*/ 111878 h 212964"/>
                <a:gd name="connsiteX2" fmla="*/ 108227 w 218794"/>
                <a:gd name="connsiteY2" fmla="*/ 212965 h 212964"/>
                <a:gd name="connsiteX3" fmla="*/ 218794 w 218794"/>
                <a:gd name="connsiteY3" fmla="*/ 102994 h 212964"/>
                <a:gd name="connsiteX4" fmla="*/ 109397 w 218794"/>
                <a:gd name="connsiteY4" fmla="*/ 0 h 212964"/>
                <a:gd name="connsiteX5" fmla="*/ 177861 w 218794"/>
                <a:gd name="connsiteY5" fmla="*/ 110919 h 212964"/>
                <a:gd name="connsiteX6" fmla="*/ 112897 w 218794"/>
                <a:gd name="connsiteY6" fmla="*/ 197210 h 212964"/>
                <a:gd name="connsiteX7" fmla="*/ 40945 w 218794"/>
                <a:gd name="connsiteY7" fmla="*/ 103310 h 212964"/>
                <a:gd name="connsiteX8" fmla="*/ 107056 w 218794"/>
                <a:gd name="connsiteY8" fmla="*/ 15744 h 212964"/>
                <a:gd name="connsiteX9" fmla="*/ 177861 w 218794"/>
                <a:gd name="connsiteY9" fmla="*/ 110919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18794" h="212964">
                  <a:moveTo>
                    <a:pt x="109397" y="0"/>
                  </a:moveTo>
                  <a:cubicBezTo>
                    <a:pt x="45966" y="0"/>
                    <a:pt x="0" y="47043"/>
                    <a:pt x="0" y="111878"/>
                  </a:cubicBezTo>
                  <a:cubicBezTo>
                    <a:pt x="0" y="170405"/>
                    <a:pt x="45522" y="212965"/>
                    <a:pt x="108227" y="212965"/>
                  </a:cubicBezTo>
                  <a:cubicBezTo>
                    <a:pt x="171259" y="212965"/>
                    <a:pt x="218794" y="165687"/>
                    <a:pt x="218794" y="102994"/>
                  </a:cubicBezTo>
                  <a:cubicBezTo>
                    <a:pt x="218794" y="42349"/>
                    <a:pt x="173811" y="0"/>
                    <a:pt x="109397" y="0"/>
                  </a:cubicBezTo>
                  <a:close/>
                  <a:moveTo>
                    <a:pt x="177861" y="110919"/>
                  </a:moveTo>
                  <a:cubicBezTo>
                    <a:pt x="177861" y="162539"/>
                    <a:pt x="151758" y="197210"/>
                    <a:pt x="112897" y="197210"/>
                  </a:cubicBezTo>
                  <a:cubicBezTo>
                    <a:pt x="77138" y="197210"/>
                    <a:pt x="40945" y="164950"/>
                    <a:pt x="40945" y="103310"/>
                  </a:cubicBezTo>
                  <a:cubicBezTo>
                    <a:pt x="40945" y="49302"/>
                    <a:pt x="66275" y="15744"/>
                    <a:pt x="107056" y="15744"/>
                  </a:cubicBezTo>
                  <a:cubicBezTo>
                    <a:pt x="148738" y="15744"/>
                    <a:pt x="177861" y="54886"/>
                    <a:pt x="177861" y="110919"/>
                  </a:cubicBezTo>
                  <a:close/>
                </a:path>
              </a:pathLst>
            </a:custGeom>
            <a:solidFill>
              <a:srgbClr val="000000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9" name="Freihandform: Form 13">
              <a:extLst>
                <a:ext uri="{FF2B5EF4-FFF2-40B4-BE49-F238E27FC236}">
                  <a16:creationId xmlns:a16="http://schemas.microsoft.com/office/drawing/2014/main" id="{9447A619-77A2-7E51-9800-E9C3ABBC0A6D}"/>
                </a:ext>
              </a:extLst>
            </p:cNvPr>
            <p:cNvSpPr/>
            <p:nvPr/>
          </p:nvSpPr>
          <p:spPr>
            <a:xfrm>
              <a:off x="11045727" y="330434"/>
              <a:ext cx="196811" cy="212964"/>
            </a:xfrm>
            <a:custGeom>
              <a:avLst/>
              <a:gdLst>
                <a:gd name="connsiteX0" fmla="*/ 196812 w 196811"/>
                <a:gd name="connsiteY0" fmla="*/ 165348 h 212964"/>
                <a:gd name="connsiteX1" fmla="*/ 180635 w 196811"/>
                <a:gd name="connsiteY1" fmla="*/ 165547 h 212964"/>
                <a:gd name="connsiteX2" fmla="*/ 179828 w 196811"/>
                <a:gd name="connsiteY2" fmla="*/ 166659 h 212964"/>
                <a:gd name="connsiteX3" fmla="*/ 118960 w 196811"/>
                <a:gd name="connsiteY3" fmla="*/ 195922 h 212964"/>
                <a:gd name="connsiteX4" fmla="*/ 70255 w 196811"/>
                <a:gd name="connsiteY4" fmla="*/ 176585 h 212964"/>
                <a:gd name="connsiteX5" fmla="*/ 41729 w 196811"/>
                <a:gd name="connsiteY5" fmla="*/ 102023 h 212964"/>
                <a:gd name="connsiteX6" fmla="*/ 113623 w 196811"/>
                <a:gd name="connsiteY6" fmla="*/ 15720 h 212964"/>
                <a:gd name="connsiteX7" fmla="*/ 179359 w 196811"/>
                <a:gd name="connsiteY7" fmla="*/ 50391 h 212964"/>
                <a:gd name="connsiteX8" fmla="*/ 180155 w 196811"/>
                <a:gd name="connsiteY8" fmla="*/ 51959 h 212964"/>
                <a:gd name="connsiteX9" fmla="*/ 193558 w 196811"/>
                <a:gd name="connsiteY9" fmla="*/ 51749 h 212964"/>
                <a:gd name="connsiteX10" fmla="*/ 192259 w 196811"/>
                <a:gd name="connsiteY10" fmla="*/ 9142 h 212964"/>
                <a:gd name="connsiteX11" fmla="*/ 181267 w 196811"/>
                <a:gd name="connsiteY11" fmla="*/ 9142 h 212964"/>
                <a:gd name="connsiteX12" fmla="*/ 180694 w 196811"/>
                <a:gd name="connsiteY12" fmla="*/ 9528 h 212964"/>
                <a:gd name="connsiteX13" fmla="*/ 176515 w 196811"/>
                <a:gd name="connsiteY13" fmla="*/ 10453 h 212964"/>
                <a:gd name="connsiteX14" fmla="*/ 163768 w 196811"/>
                <a:gd name="connsiteY14" fmla="*/ 7761 h 212964"/>
                <a:gd name="connsiteX15" fmla="*/ 112441 w 196811"/>
                <a:gd name="connsiteY15" fmla="*/ 0 h 212964"/>
                <a:gd name="connsiteX16" fmla="*/ 0 w 196811"/>
                <a:gd name="connsiteY16" fmla="*/ 110275 h 212964"/>
                <a:gd name="connsiteX17" fmla="*/ 110029 w 196811"/>
                <a:gd name="connsiteY17" fmla="*/ 212965 h 212964"/>
                <a:gd name="connsiteX18" fmla="*/ 149382 w 196811"/>
                <a:gd name="connsiteY18" fmla="*/ 208411 h 212964"/>
                <a:gd name="connsiteX19" fmla="*/ 169808 w 196811"/>
                <a:gd name="connsiteY19" fmla="*/ 205661 h 212964"/>
                <a:gd name="connsiteX20" fmla="*/ 172804 w 196811"/>
                <a:gd name="connsiteY20" fmla="*/ 205567 h 212964"/>
                <a:gd name="connsiteX21" fmla="*/ 179406 w 196811"/>
                <a:gd name="connsiteY21" fmla="*/ 205719 h 212964"/>
                <a:gd name="connsiteX22" fmla="*/ 182414 w 196811"/>
                <a:gd name="connsiteY22" fmla="*/ 206012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96811" h="212964">
                  <a:moveTo>
                    <a:pt x="196812" y="165348"/>
                  </a:moveTo>
                  <a:lnTo>
                    <a:pt x="180635" y="165547"/>
                  </a:lnTo>
                  <a:lnTo>
                    <a:pt x="179828" y="166659"/>
                  </a:lnTo>
                  <a:cubicBezTo>
                    <a:pt x="163440" y="186839"/>
                    <a:pt x="146315" y="195044"/>
                    <a:pt x="118960" y="195922"/>
                  </a:cubicBezTo>
                  <a:cubicBezTo>
                    <a:pt x="100712" y="196577"/>
                    <a:pt x="83927" y="189824"/>
                    <a:pt x="70255" y="176585"/>
                  </a:cubicBezTo>
                  <a:cubicBezTo>
                    <a:pt x="52123" y="159027"/>
                    <a:pt x="41729" y="131859"/>
                    <a:pt x="41729" y="102023"/>
                  </a:cubicBezTo>
                  <a:cubicBezTo>
                    <a:pt x="41729" y="50403"/>
                    <a:pt x="70618" y="15720"/>
                    <a:pt x="113623" y="15720"/>
                  </a:cubicBezTo>
                  <a:cubicBezTo>
                    <a:pt x="143799" y="15720"/>
                    <a:pt x="168989" y="28994"/>
                    <a:pt x="179359" y="50391"/>
                  </a:cubicBezTo>
                  <a:lnTo>
                    <a:pt x="180155" y="51959"/>
                  </a:lnTo>
                  <a:lnTo>
                    <a:pt x="193558" y="51749"/>
                  </a:lnTo>
                  <a:lnTo>
                    <a:pt x="192259" y="9142"/>
                  </a:lnTo>
                  <a:lnTo>
                    <a:pt x="181267" y="9142"/>
                  </a:lnTo>
                  <a:lnTo>
                    <a:pt x="180694" y="9528"/>
                  </a:lnTo>
                  <a:cubicBezTo>
                    <a:pt x="179431" y="10264"/>
                    <a:pt x="177970" y="10587"/>
                    <a:pt x="176515" y="10453"/>
                  </a:cubicBezTo>
                  <a:cubicBezTo>
                    <a:pt x="173928" y="10359"/>
                    <a:pt x="169492" y="9282"/>
                    <a:pt x="163768" y="7761"/>
                  </a:cubicBezTo>
                  <a:cubicBezTo>
                    <a:pt x="152039" y="4682"/>
                    <a:pt x="134259" y="0"/>
                    <a:pt x="112441" y="0"/>
                  </a:cubicBezTo>
                  <a:cubicBezTo>
                    <a:pt x="34765" y="0"/>
                    <a:pt x="0" y="55377"/>
                    <a:pt x="0" y="110275"/>
                  </a:cubicBezTo>
                  <a:cubicBezTo>
                    <a:pt x="0" y="172652"/>
                    <a:pt x="43192" y="212965"/>
                    <a:pt x="110029" y="212965"/>
                  </a:cubicBezTo>
                  <a:cubicBezTo>
                    <a:pt x="124965" y="212965"/>
                    <a:pt x="138461" y="210448"/>
                    <a:pt x="149382" y="208411"/>
                  </a:cubicBezTo>
                  <a:cubicBezTo>
                    <a:pt x="156745" y="207030"/>
                    <a:pt x="163838" y="205789"/>
                    <a:pt x="169808" y="205661"/>
                  </a:cubicBezTo>
                  <a:cubicBezTo>
                    <a:pt x="171119" y="205661"/>
                    <a:pt x="172032" y="205661"/>
                    <a:pt x="172804" y="205567"/>
                  </a:cubicBezTo>
                  <a:cubicBezTo>
                    <a:pt x="175006" y="205507"/>
                    <a:pt x="177209" y="205558"/>
                    <a:pt x="179406" y="205719"/>
                  </a:cubicBezTo>
                  <a:lnTo>
                    <a:pt x="182414" y="206012"/>
                  </a:lnTo>
                  <a:close/>
                </a:path>
              </a:pathLst>
            </a:custGeom>
            <a:solidFill>
              <a:srgbClr val="000000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sp>
        <p:nvSpPr>
          <p:cNvPr id="2" name="Slide Number Placeholder 3">
            <a:extLst>
              <a:ext uri="{FF2B5EF4-FFF2-40B4-BE49-F238E27FC236}">
                <a16:creationId xmlns:a16="http://schemas.microsoft.com/office/drawing/2014/main" id="{F2681F68-C40A-FC0F-23B4-4A269696142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454491" y="6602770"/>
            <a:ext cx="258084" cy="153888"/>
          </a:xfrm>
          <a:prstGeom prst="rect">
            <a:avLst/>
          </a:prstGeom>
        </p:spPr>
        <p:txBody>
          <a:bodyPr/>
          <a:lstStyle>
            <a:lvl1pPr algn="r">
              <a:defRPr sz="1000"/>
            </a:lvl1pPr>
          </a:lstStyle>
          <a:p>
            <a:fld id="{C50CBA42-791E-4851-9FB4-39A223136DC3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4089E18D-3591-F35D-9DA0-D27290519A5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 flipH="1">
            <a:off x="479423" y="6602770"/>
            <a:ext cx="7246798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>
              <a:defRPr lang="de-DE" sz="1000">
                <a:solidFill>
                  <a:schemeClr val="tx2"/>
                </a:solidFill>
              </a:defRPr>
            </a:lvl1pPr>
          </a:lstStyle>
          <a:p>
            <a:r>
              <a:rPr lang="en-US"/>
              <a:t>Senacor  |  Deutsche Bank  |  Request for Proposal – Miles &amp; More // Mobile app solution development 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6786490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V-Profi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hteck 21">
            <a:extLst>
              <a:ext uri="{FF2B5EF4-FFF2-40B4-BE49-F238E27FC236}">
                <a16:creationId xmlns:a16="http://schemas.microsoft.com/office/drawing/2014/main" id="{8EF60B27-1D4B-C94F-3A63-44CD93A21E71}"/>
              </a:ext>
            </a:extLst>
          </p:cNvPr>
          <p:cNvSpPr/>
          <p:nvPr userDrawn="1"/>
        </p:nvSpPr>
        <p:spPr>
          <a:xfrm>
            <a:off x="0" y="3646743"/>
            <a:ext cx="12192000" cy="321125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066045CB-9910-A8BA-3ECD-4270AA1EF93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FF13BA3-4DBD-492F-AF1C-C76B12832872}" type="datetime1">
              <a:rPr lang="de-DE" smtClean="0"/>
              <a:pPr/>
              <a:t>03.06.25</a:t>
            </a:fld>
            <a:endParaRPr lang="en-DE"/>
          </a:p>
        </p:txBody>
      </p:sp>
      <p:sp>
        <p:nvSpPr>
          <p:cNvPr id="12" name="Text Placeholder 18">
            <a:extLst>
              <a:ext uri="{FF2B5EF4-FFF2-40B4-BE49-F238E27FC236}">
                <a16:creationId xmlns:a16="http://schemas.microsoft.com/office/drawing/2014/main" id="{67C9BF02-94CA-3F79-303A-00A08EC165C3}"/>
              </a:ext>
            </a:extLst>
          </p:cNvPr>
          <p:cNvSpPr txBox="1">
            <a:spLocks/>
          </p:cNvSpPr>
          <p:nvPr userDrawn="1"/>
        </p:nvSpPr>
        <p:spPr>
          <a:xfrm>
            <a:off x="7133601" y="626225"/>
            <a:ext cx="2115492" cy="50405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Clr>
                <a:srgbClr val="324B5F"/>
              </a:buClr>
              <a:buFontTx/>
              <a:buNone/>
              <a:defRPr lang="en-US" sz="1600" kern="1200" baseline="0" dirty="0" smtClean="0">
                <a:solidFill>
                  <a:schemeClr val="tx1"/>
                </a:solidFill>
                <a:latin typeface="Futura-Book" panose="020B0500000000000000" pitchFamily="34" charset="0"/>
                <a:ea typeface="Open Sans Semibold" panose="020B0706030804020204" pitchFamily="34" charset="0"/>
                <a:cs typeface="Open Sans Semibold" panose="020B0706030804020204" pitchFamily="34" charset="0"/>
              </a:defRPr>
            </a:lvl1pPr>
            <a:lvl2pPr marL="180975" indent="-180975" algn="l" defTabSz="914400" rtl="0" eaLnBrk="1" latinLnBrk="0" hangingPunct="1">
              <a:spcBef>
                <a:spcPct val="20000"/>
              </a:spcBef>
              <a:buClr>
                <a:srgbClr val="324B5F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Futura-Book" panose="020B0500000000000000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61950" indent="-180975" algn="l" defTabSz="914400" rtl="0" eaLnBrk="1" latinLnBrk="0" hangingPunct="1">
              <a:spcBef>
                <a:spcPct val="20000"/>
              </a:spcBef>
              <a:buClr>
                <a:srgbClr val="324B5F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Futura-Book" panose="020B0500000000000000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542925" indent="-180975" algn="l" defTabSz="720725" rtl="0" eaLnBrk="1" latinLnBrk="0" hangingPunct="1">
              <a:spcBef>
                <a:spcPct val="20000"/>
              </a:spcBef>
              <a:buClr>
                <a:srgbClr val="324B5F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Futura-Book" panose="020B0500000000000000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714375" indent="-180975" algn="l" defTabSz="914400" rtl="0" eaLnBrk="1" latinLnBrk="0" hangingPunct="1">
              <a:spcBef>
                <a:spcPct val="20000"/>
              </a:spcBef>
              <a:buClr>
                <a:srgbClr val="324B5F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Futura-Book" panose="020B0500000000000000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286000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rgbClr val="324650"/>
              </a:buClr>
            </a:pPr>
            <a:endParaRPr lang="en-US" sz="1000" b="1">
              <a:solidFill>
                <a:srgbClr val="7091C8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Titel 8">
            <a:extLst>
              <a:ext uri="{FF2B5EF4-FFF2-40B4-BE49-F238E27FC236}">
                <a16:creationId xmlns:a16="http://schemas.microsoft.com/office/drawing/2014/main" id="{230EBE96-F367-ADEE-698C-794B1F9DB2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8798" y="720000"/>
            <a:ext cx="11233928" cy="307777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Vorname Nachname</a:t>
            </a:r>
          </a:p>
        </p:txBody>
      </p:sp>
      <p:sp>
        <p:nvSpPr>
          <p:cNvPr id="27" name="Titel 8">
            <a:extLst>
              <a:ext uri="{FF2B5EF4-FFF2-40B4-BE49-F238E27FC236}">
                <a16:creationId xmlns:a16="http://schemas.microsoft.com/office/drawing/2014/main" id="{FE83C45F-9FC4-3E0D-2F78-DA3E226153F9}"/>
              </a:ext>
            </a:extLst>
          </p:cNvPr>
          <p:cNvSpPr txBox="1">
            <a:spLocks/>
          </p:cNvSpPr>
          <p:nvPr userDrawn="1"/>
        </p:nvSpPr>
        <p:spPr>
          <a:xfrm>
            <a:off x="7096151" y="472019"/>
            <a:ext cx="2072526" cy="169277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000" b="1" kern="12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algn="ctr"/>
            <a:endParaRPr lang="de-DE" sz="1100"/>
          </a:p>
        </p:txBody>
      </p:sp>
      <p:sp>
        <p:nvSpPr>
          <p:cNvPr id="32" name="Fußzeilenplatzhalter 6">
            <a:extLst>
              <a:ext uri="{FF2B5EF4-FFF2-40B4-BE49-F238E27FC236}">
                <a16:creationId xmlns:a16="http://schemas.microsoft.com/office/drawing/2014/main" id="{7435D1E4-2C0B-64F6-C70F-8A54C73F837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1623600" y="6555600"/>
            <a:ext cx="8964000" cy="122400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 err="1"/>
              <a:t>Senacor</a:t>
            </a:r>
            <a:r>
              <a:rPr lang="de-DE"/>
              <a:t> Technologies AG</a:t>
            </a:r>
            <a:endParaRPr lang="en-DE"/>
          </a:p>
        </p:txBody>
      </p:sp>
      <p:sp>
        <p:nvSpPr>
          <p:cNvPr id="33" name="Foliennummernplatzhalter 7">
            <a:extLst>
              <a:ext uri="{FF2B5EF4-FFF2-40B4-BE49-F238E27FC236}">
                <a16:creationId xmlns:a16="http://schemas.microsoft.com/office/drawing/2014/main" id="{F40297E4-401C-6AA7-79A5-625B43EC6E8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11242800" y="6555600"/>
            <a:ext cx="457200" cy="122400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E63DBB63-5C76-DA40-949C-F00FB53C9B50}" type="slidenum">
              <a:rPr lang="en-DE" smtClean="0"/>
              <a:pPr/>
              <a:t>‹#›</a:t>
            </a:fld>
            <a:endParaRPr lang="en-DE"/>
          </a:p>
        </p:txBody>
      </p:sp>
      <p:sp>
        <p:nvSpPr>
          <p:cNvPr id="4" name="Textplatzhalter 19">
            <a:extLst>
              <a:ext uri="{FF2B5EF4-FFF2-40B4-BE49-F238E27FC236}">
                <a16:creationId xmlns:a16="http://schemas.microsoft.com/office/drawing/2014/main" id="{B8638FD1-C19D-976E-B47E-FD06A774780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8800" y="396000"/>
            <a:ext cx="9511200" cy="216000"/>
          </a:xfrm>
        </p:spPr>
        <p:txBody>
          <a:bodyPr anchor="b"/>
          <a:lstStyle>
            <a:lvl1pPr>
              <a:defRPr cap="all" baseline="0">
                <a:solidFill>
                  <a:schemeClr val="accent1"/>
                </a:solidFill>
              </a:defRPr>
            </a:lvl1pPr>
          </a:lstStyle>
          <a:p>
            <a:r>
              <a:rPr lang="de-DE"/>
              <a:t>POSITION</a:t>
            </a:r>
          </a:p>
        </p:txBody>
      </p:sp>
      <p:grpSp>
        <p:nvGrpSpPr>
          <p:cNvPr id="5" name="Gruppieren 4">
            <a:extLst>
              <a:ext uri="{FF2B5EF4-FFF2-40B4-BE49-F238E27FC236}">
                <a16:creationId xmlns:a16="http://schemas.microsoft.com/office/drawing/2014/main" id="{E270703A-A2ED-100F-E13F-807CC571C73E}"/>
              </a:ext>
            </a:extLst>
          </p:cNvPr>
          <p:cNvGrpSpPr/>
          <p:nvPr userDrawn="1"/>
        </p:nvGrpSpPr>
        <p:grpSpPr>
          <a:xfrm>
            <a:off x="10241984" y="367378"/>
            <a:ext cx="1470743" cy="209663"/>
            <a:chOff x="10240056" y="330434"/>
            <a:chExt cx="1472671" cy="212964"/>
          </a:xfrm>
          <a:solidFill>
            <a:srgbClr val="000000"/>
          </a:solidFill>
        </p:grpSpPr>
        <p:sp>
          <p:nvSpPr>
            <p:cNvPr id="8" name="Freihandform: Form 7">
              <a:extLst>
                <a:ext uri="{FF2B5EF4-FFF2-40B4-BE49-F238E27FC236}">
                  <a16:creationId xmlns:a16="http://schemas.microsoft.com/office/drawing/2014/main" id="{7B690517-B014-AE68-20CA-6FA8A7C5A6D2}"/>
                </a:ext>
              </a:extLst>
            </p:cNvPr>
            <p:cNvSpPr/>
            <p:nvPr/>
          </p:nvSpPr>
          <p:spPr>
            <a:xfrm>
              <a:off x="10602134" y="335724"/>
              <a:ext cx="213948" cy="204724"/>
            </a:xfrm>
            <a:custGeom>
              <a:avLst/>
              <a:gdLst>
                <a:gd name="connsiteX0" fmla="*/ 160491 w 213948"/>
                <a:gd name="connsiteY0" fmla="*/ 14175 h 204724"/>
                <a:gd name="connsiteX1" fmla="*/ 163136 w 213948"/>
                <a:gd name="connsiteY1" fmla="*/ 14327 h 204724"/>
                <a:gd name="connsiteX2" fmla="*/ 176854 w 213948"/>
                <a:gd name="connsiteY2" fmla="*/ 36064 h 204724"/>
                <a:gd name="connsiteX3" fmla="*/ 176854 w 213948"/>
                <a:gd name="connsiteY3" fmla="*/ 144712 h 204724"/>
                <a:gd name="connsiteX4" fmla="*/ 49408 w 213948"/>
                <a:gd name="connsiteY4" fmla="*/ 0 h 204724"/>
                <a:gd name="connsiteX5" fmla="*/ 4834 w 213948"/>
                <a:gd name="connsiteY5" fmla="*/ 0 h 204724"/>
                <a:gd name="connsiteX6" fmla="*/ 4834 w 213948"/>
                <a:gd name="connsiteY6" fmla="*/ 13894 h 204724"/>
                <a:gd name="connsiteX7" fmla="*/ 7292 w 213948"/>
                <a:gd name="connsiteY7" fmla="*/ 14140 h 204724"/>
                <a:gd name="connsiteX8" fmla="*/ 16727 w 213948"/>
                <a:gd name="connsiteY8" fmla="*/ 21163 h 204724"/>
                <a:gd name="connsiteX9" fmla="*/ 16727 w 213948"/>
                <a:gd name="connsiteY9" fmla="*/ 164821 h 204724"/>
                <a:gd name="connsiteX10" fmla="*/ 2681 w 213948"/>
                <a:gd name="connsiteY10" fmla="*/ 188372 h 204724"/>
                <a:gd name="connsiteX11" fmla="*/ 0 w 213948"/>
                <a:gd name="connsiteY11" fmla="*/ 188513 h 204724"/>
                <a:gd name="connsiteX12" fmla="*/ 0 w 213948"/>
                <a:gd name="connsiteY12" fmla="*/ 202559 h 204724"/>
                <a:gd name="connsiteX13" fmla="*/ 54523 w 213948"/>
                <a:gd name="connsiteY13" fmla="*/ 202559 h 204724"/>
                <a:gd name="connsiteX14" fmla="*/ 54523 w 213948"/>
                <a:gd name="connsiteY14" fmla="*/ 188665 h 204724"/>
                <a:gd name="connsiteX15" fmla="*/ 51936 w 213948"/>
                <a:gd name="connsiteY15" fmla="*/ 188466 h 204724"/>
                <a:gd name="connsiteX16" fmla="*/ 38580 w 213948"/>
                <a:gd name="connsiteY16" fmla="*/ 162457 h 204724"/>
                <a:gd name="connsiteX17" fmla="*/ 38580 w 213948"/>
                <a:gd name="connsiteY17" fmla="*/ 46048 h 204724"/>
                <a:gd name="connsiteX18" fmla="*/ 177873 w 213948"/>
                <a:gd name="connsiteY18" fmla="*/ 203776 h 204724"/>
                <a:gd name="connsiteX19" fmla="*/ 178716 w 213948"/>
                <a:gd name="connsiteY19" fmla="*/ 204724 h 204724"/>
                <a:gd name="connsiteX20" fmla="*/ 198708 w 213948"/>
                <a:gd name="connsiteY20" fmla="*/ 204724 h 204724"/>
                <a:gd name="connsiteX21" fmla="*/ 198708 w 213948"/>
                <a:gd name="connsiteY21" fmla="*/ 39271 h 204724"/>
                <a:gd name="connsiteX22" fmla="*/ 211373 w 213948"/>
                <a:gd name="connsiteY22" fmla="*/ 14421 h 204724"/>
                <a:gd name="connsiteX23" fmla="*/ 213948 w 213948"/>
                <a:gd name="connsiteY23" fmla="*/ 14198 h 204724"/>
                <a:gd name="connsiteX24" fmla="*/ 213948 w 213948"/>
                <a:gd name="connsiteY24" fmla="*/ 0 h 204724"/>
                <a:gd name="connsiteX25" fmla="*/ 160491 w 213948"/>
                <a:gd name="connsiteY25" fmla="*/ 0 h 2047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213948" h="204724">
                  <a:moveTo>
                    <a:pt x="160491" y="14175"/>
                  </a:moveTo>
                  <a:lnTo>
                    <a:pt x="163136" y="14327"/>
                  </a:lnTo>
                  <a:cubicBezTo>
                    <a:pt x="176878" y="15111"/>
                    <a:pt x="176878" y="17909"/>
                    <a:pt x="176854" y="36064"/>
                  </a:cubicBezTo>
                  <a:lnTo>
                    <a:pt x="176854" y="144712"/>
                  </a:lnTo>
                  <a:lnTo>
                    <a:pt x="49408" y="0"/>
                  </a:lnTo>
                  <a:lnTo>
                    <a:pt x="4834" y="0"/>
                  </a:lnTo>
                  <a:lnTo>
                    <a:pt x="4834" y="13894"/>
                  </a:lnTo>
                  <a:lnTo>
                    <a:pt x="7292" y="14140"/>
                  </a:lnTo>
                  <a:cubicBezTo>
                    <a:pt x="14655" y="14643"/>
                    <a:pt x="16586" y="17101"/>
                    <a:pt x="16727" y="21163"/>
                  </a:cubicBezTo>
                  <a:lnTo>
                    <a:pt x="16727" y="164821"/>
                  </a:lnTo>
                  <a:cubicBezTo>
                    <a:pt x="16727" y="182882"/>
                    <a:pt x="16727" y="187728"/>
                    <a:pt x="2681" y="188372"/>
                  </a:cubicBezTo>
                  <a:lnTo>
                    <a:pt x="0" y="188513"/>
                  </a:lnTo>
                  <a:lnTo>
                    <a:pt x="0" y="202559"/>
                  </a:lnTo>
                  <a:lnTo>
                    <a:pt x="54523" y="202559"/>
                  </a:lnTo>
                  <a:lnTo>
                    <a:pt x="54523" y="188665"/>
                  </a:lnTo>
                  <a:lnTo>
                    <a:pt x="51936" y="188466"/>
                  </a:lnTo>
                  <a:cubicBezTo>
                    <a:pt x="38557" y="187424"/>
                    <a:pt x="38569" y="182145"/>
                    <a:pt x="38580" y="162457"/>
                  </a:cubicBezTo>
                  <a:lnTo>
                    <a:pt x="38580" y="46048"/>
                  </a:lnTo>
                  <a:lnTo>
                    <a:pt x="177873" y="203776"/>
                  </a:lnTo>
                  <a:lnTo>
                    <a:pt x="178716" y="204724"/>
                  </a:lnTo>
                  <a:lnTo>
                    <a:pt x="198708" y="204724"/>
                  </a:lnTo>
                  <a:lnTo>
                    <a:pt x="198708" y="39271"/>
                  </a:lnTo>
                  <a:cubicBezTo>
                    <a:pt x="198708" y="19080"/>
                    <a:pt x="199797" y="15521"/>
                    <a:pt x="211373" y="14421"/>
                  </a:cubicBezTo>
                  <a:lnTo>
                    <a:pt x="213948" y="14198"/>
                  </a:lnTo>
                  <a:lnTo>
                    <a:pt x="213948" y="0"/>
                  </a:lnTo>
                  <a:lnTo>
                    <a:pt x="160491" y="0"/>
                  </a:ln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" name="Freihandform: Form 8">
              <a:extLst>
                <a:ext uri="{FF2B5EF4-FFF2-40B4-BE49-F238E27FC236}">
                  <a16:creationId xmlns:a16="http://schemas.microsoft.com/office/drawing/2014/main" id="{AB8A0262-724C-A5AF-3FFA-D489B38269AE}"/>
                </a:ext>
              </a:extLst>
            </p:cNvPr>
            <p:cNvSpPr/>
            <p:nvPr/>
          </p:nvSpPr>
          <p:spPr>
            <a:xfrm>
              <a:off x="10240056" y="330434"/>
              <a:ext cx="150166" cy="212964"/>
            </a:xfrm>
            <a:custGeom>
              <a:avLst/>
              <a:gdLst>
                <a:gd name="connsiteX0" fmla="*/ 87918 w 150166"/>
                <a:gd name="connsiteY0" fmla="*/ 86267 h 212964"/>
                <a:gd name="connsiteX1" fmla="*/ 87918 w 150166"/>
                <a:gd name="connsiteY1" fmla="*/ 86267 h 212964"/>
                <a:gd name="connsiteX2" fmla="*/ 43309 w 150166"/>
                <a:gd name="connsiteY2" fmla="*/ 46282 h 212964"/>
                <a:gd name="connsiteX3" fmla="*/ 73427 w 150166"/>
                <a:gd name="connsiteY3" fmla="*/ 17078 h 212964"/>
                <a:gd name="connsiteX4" fmla="*/ 120248 w 150166"/>
                <a:gd name="connsiteY4" fmla="*/ 39739 h 212964"/>
                <a:gd name="connsiteX5" fmla="*/ 121032 w 150166"/>
                <a:gd name="connsiteY5" fmla="*/ 41331 h 212964"/>
                <a:gd name="connsiteX6" fmla="*/ 136109 w 150166"/>
                <a:gd name="connsiteY6" fmla="*/ 41167 h 212964"/>
                <a:gd name="connsiteX7" fmla="*/ 129589 w 150166"/>
                <a:gd name="connsiteY7" fmla="*/ 3078 h 212964"/>
                <a:gd name="connsiteX8" fmla="*/ 120026 w 150166"/>
                <a:gd name="connsiteY8" fmla="*/ 3078 h 212964"/>
                <a:gd name="connsiteX9" fmla="*/ 118551 w 150166"/>
                <a:gd name="connsiteY9" fmla="*/ 3746 h 212964"/>
                <a:gd name="connsiteX10" fmla="*/ 110977 w 150166"/>
                <a:gd name="connsiteY10" fmla="*/ 5384 h 212964"/>
                <a:gd name="connsiteX11" fmla="*/ 101438 w 150166"/>
                <a:gd name="connsiteY11" fmla="*/ 3804 h 212964"/>
                <a:gd name="connsiteX12" fmla="*/ 95807 w 150166"/>
                <a:gd name="connsiteY12" fmla="*/ 2634 h 212964"/>
                <a:gd name="connsiteX13" fmla="*/ 69412 w 150166"/>
                <a:gd name="connsiteY13" fmla="*/ 0 h 212964"/>
                <a:gd name="connsiteX14" fmla="*/ 5103 w 150166"/>
                <a:gd name="connsiteY14" fmla="*/ 55096 h 212964"/>
                <a:gd name="connsiteX15" fmla="*/ 63817 w 150166"/>
                <a:gd name="connsiteY15" fmla="*/ 117415 h 212964"/>
                <a:gd name="connsiteX16" fmla="*/ 110966 w 150166"/>
                <a:gd name="connsiteY16" fmla="*/ 162094 h 212964"/>
                <a:gd name="connsiteX17" fmla="*/ 72093 w 150166"/>
                <a:gd name="connsiteY17" fmla="*/ 193944 h 212964"/>
                <a:gd name="connsiteX18" fmla="*/ 15030 w 150166"/>
                <a:gd name="connsiteY18" fmla="*/ 167174 h 212964"/>
                <a:gd name="connsiteX19" fmla="*/ 14327 w 150166"/>
                <a:gd name="connsiteY19" fmla="*/ 165418 h 212964"/>
                <a:gd name="connsiteX20" fmla="*/ 0 w 150166"/>
                <a:gd name="connsiteY20" fmla="*/ 165418 h 212964"/>
                <a:gd name="connsiteX21" fmla="*/ 6368 w 150166"/>
                <a:gd name="connsiteY21" fmla="*/ 208283 h 212964"/>
                <a:gd name="connsiteX22" fmla="*/ 17932 w 150166"/>
                <a:gd name="connsiteY22" fmla="*/ 208283 h 212964"/>
                <a:gd name="connsiteX23" fmla="*/ 18740 w 150166"/>
                <a:gd name="connsiteY23" fmla="*/ 207510 h 212964"/>
                <a:gd name="connsiteX24" fmla="*/ 25997 w 150166"/>
                <a:gd name="connsiteY24" fmla="*/ 205895 h 212964"/>
                <a:gd name="connsiteX25" fmla="*/ 38393 w 150166"/>
                <a:gd name="connsiteY25" fmla="*/ 208107 h 212964"/>
                <a:gd name="connsiteX26" fmla="*/ 74445 w 150166"/>
                <a:gd name="connsiteY26" fmla="*/ 212965 h 212964"/>
                <a:gd name="connsiteX27" fmla="*/ 150167 w 150166"/>
                <a:gd name="connsiteY27" fmla="*/ 152648 h 212964"/>
                <a:gd name="connsiteX28" fmla="*/ 87930 w 150166"/>
                <a:gd name="connsiteY28" fmla="*/ 86267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150166" h="212964">
                  <a:moveTo>
                    <a:pt x="87918" y="86267"/>
                  </a:moveTo>
                  <a:lnTo>
                    <a:pt x="87918" y="86267"/>
                  </a:lnTo>
                  <a:cubicBezTo>
                    <a:pt x="64976" y="74750"/>
                    <a:pt x="43309" y="63864"/>
                    <a:pt x="43309" y="46282"/>
                  </a:cubicBezTo>
                  <a:cubicBezTo>
                    <a:pt x="43309" y="34507"/>
                    <a:pt x="52884" y="17078"/>
                    <a:pt x="73427" y="17078"/>
                  </a:cubicBezTo>
                  <a:cubicBezTo>
                    <a:pt x="97142" y="17078"/>
                    <a:pt x="111305" y="23574"/>
                    <a:pt x="120248" y="39739"/>
                  </a:cubicBezTo>
                  <a:lnTo>
                    <a:pt x="121032" y="41331"/>
                  </a:lnTo>
                  <a:lnTo>
                    <a:pt x="136109" y="41167"/>
                  </a:lnTo>
                  <a:lnTo>
                    <a:pt x="129589" y="3078"/>
                  </a:lnTo>
                  <a:lnTo>
                    <a:pt x="120026" y="3078"/>
                  </a:lnTo>
                  <a:lnTo>
                    <a:pt x="118551" y="3746"/>
                  </a:lnTo>
                  <a:cubicBezTo>
                    <a:pt x="116205" y="4922"/>
                    <a:pt x="113600" y="5486"/>
                    <a:pt x="110977" y="5384"/>
                  </a:cubicBezTo>
                  <a:cubicBezTo>
                    <a:pt x="106998" y="5232"/>
                    <a:pt x="105242" y="4577"/>
                    <a:pt x="101438" y="3804"/>
                  </a:cubicBezTo>
                  <a:cubicBezTo>
                    <a:pt x="99822" y="3465"/>
                    <a:pt x="98031" y="3008"/>
                    <a:pt x="95807" y="2634"/>
                  </a:cubicBezTo>
                  <a:cubicBezTo>
                    <a:pt x="87117" y="890"/>
                    <a:pt x="78276" y="8"/>
                    <a:pt x="69412" y="0"/>
                  </a:cubicBezTo>
                  <a:cubicBezTo>
                    <a:pt x="33945" y="0"/>
                    <a:pt x="5103" y="24710"/>
                    <a:pt x="5103" y="55096"/>
                  </a:cubicBezTo>
                  <a:cubicBezTo>
                    <a:pt x="5103" y="85846"/>
                    <a:pt x="34952" y="101917"/>
                    <a:pt x="63817" y="117415"/>
                  </a:cubicBezTo>
                  <a:cubicBezTo>
                    <a:pt x="88059" y="130455"/>
                    <a:pt x="110966" y="142804"/>
                    <a:pt x="110966" y="162094"/>
                  </a:cubicBezTo>
                  <a:cubicBezTo>
                    <a:pt x="110966" y="180249"/>
                    <a:pt x="94251" y="193944"/>
                    <a:pt x="72093" y="193944"/>
                  </a:cubicBezTo>
                  <a:cubicBezTo>
                    <a:pt x="41799" y="193944"/>
                    <a:pt x="23130" y="185177"/>
                    <a:pt x="15030" y="167174"/>
                  </a:cubicBezTo>
                  <a:lnTo>
                    <a:pt x="14327" y="165418"/>
                  </a:lnTo>
                  <a:lnTo>
                    <a:pt x="0" y="165418"/>
                  </a:lnTo>
                  <a:lnTo>
                    <a:pt x="6368" y="208283"/>
                  </a:lnTo>
                  <a:lnTo>
                    <a:pt x="17932" y="208283"/>
                  </a:lnTo>
                  <a:lnTo>
                    <a:pt x="18740" y="207510"/>
                  </a:lnTo>
                  <a:cubicBezTo>
                    <a:pt x="20461" y="205965"/>
                    <a:pt x="22603" y="205860"/>
                    <a:pt x="25997" y="205895"/>
                  </a:cubicBezTo>
                  <a:cubicBezTo>
                    <a:pt x="29392" y="205930"/>
                    <a:pt x="33313" y="206878"/>
                    <a:pt x="38393" y="208107"/>
                  </a:cubicBezTo>
                  <a:cubicBezTo>
                    <a:pt x="50154" y="211257"/>
                    <a:pt x="62270" y="212889"/>
                    <a:pt x="74445" y="212965"/>
                  </a:cubicBezTo>
                  <a:cubicBezTo>
                    <a:pt x="118328" y="212965"/>
                    <a:pt x="150167" y="187600"/>
                    <a:pt x="150167" y="152648"/>
                  </a:cubicBezTo>
                  <a:cubicBezTo>
                    <a:pt x="150167" y="117696"/>
                    <a:pt x="117052" y="100922"/>
                    <a:pt x="87930" y="86267"/>
                  </a:cubicBezTo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4" name="Freihandform: Form 9">
              <a:extLst>
                <a:ext uri="{FF2B5EF4-FFF2-40B4-BE49-F238E27FC236}">
                  <a16:creationId xmlns:a16="http://schemas.microsoft.com/office/drawing/2014/main" id="{588E974A-F5F5-831D-B7E1-64FF88CFCBC5}"/>
                </a:ext>
              </a:extLst>
            </p:cNvPr>
            <p:cNvSpPr/>
            <p:nvPr/>
          </p:nvSpPr>
          <p:spPr>
            <a:xfrm>
              <a:off x="10421346" y="335748"/>
              <a:ext cx="149780" cy="202570"/>
            </a:xfrm>
            <a:custGeom>
              <a:avLst/>
              <a:gdLst>
                <a:gd name="connsiteX0" fmla="*/ 10184 w 149780"/>
                <a:gd name="connsiteY0" fmla="*/ 176725 h 202570"/>
                <a:gd name="connsiteX1" fmla="*/ 2540 w 149780"/>
                <a:gd name="connsiteY1" fmla="*/ 187986 h 202570"/>
                <a:gd name="connsiteX2" fmla="*/ 0 w 149780"/>
                <a:gd name="connsiteY2" fmla="*/ 188232 h 202570"/>
                <a:gd name="connsiteX3" fmla="*/ 0 w 149780"/>
                <a:gd name="connsiteY3" fmla="*/ 202571 h 202570"/>
                <a:gd name="connsiteX4" fmla="*/ 144864 w 149780"/>
                <a:gd name="connsiteY4" fmla="*/ 202571 h 202570"/>
                <a:gd name="connsiteX5" fmla="*/ 149780 w 149780"/>
                <a:gd name="connsiteY5" fmla="*/ 162059 h 202570"/>
                <a:gd name="connsiteX6" fmla="*/ 134563 w 149780"/>
                <a:gd name="connsiteY6" fmla="*/ 162176 h 202570"/>
                <a:gd name="connsiteX7" fmla="*/ 133943 w 149780"/>
                <a:gd name="connsiteY7" fmla="*/ 164107 h 202570"/>
                <a:gd name="connsiteX8" fmla="*/ 101379 w 149780"/>
                <a:gd name="connsiteY8" fmla="*/ 182754 h 202570"/>
                <a:gd name="connsiteX9" fmla="*/ 64192 w 149780"/>
                <a:gd name="connsiteY9" fmla="*/ 182754 h 202570"/>
                <a:gd name="connsiteX10" fmla="*/ 49244 w 149780"/>
                <a:gd name="connsiteY10" fmla="*/ 162749 h 202570"/>
                <a:gd name="connsiteX11" fmla="*/ 49244 w 149780"/>
                <a:gd name="connsiteY11" fmla="*/ 107875 h 202570"/>
                <a:gd name="connsiteX12" fmla="*/ 89042 w 149780"/>
                <a:gd name="connsiteY12" fmla="*/ 107875 h 202570"/>
                <a:gd name="connsiteX13" fmla="*/ 107630 w 149780"/>
                <a:gd name="connsiteY13" fmla="*/ 118878 h 202570"/>
                <a:gd name="connsiteX14" fmla="*/ 108051 w 149780"/>
                <a:gd name="connsiteY14" fmla="*/ 121219 h 202570"/>
                <a:gd name="connsiteX15" fmla="*/ 122542 w 149780"/>
                <a:gd name="connsiteY15" fmla="*/ 121219 h 202570"/>
                <a:gd name="connsiteX16" fmla="*/ 122542 w 149780"/>
                <a:gd name="connsiteY16" fmla="*/ 75569 h 202570"/>
                <a:gd name="connsiteX17" fmla="*/ 108285 w 149780"/>
                <a:gd name="connsiteY17" fmla="*/ 75569 h 202570"/>
                <a:gd name="connsiteX18" fmla="*/ 107934 w 149780"/>
                <a:gd name="connsiteY18" fmla="*/ 77910 h 202570"/>
                <a:gd name="connsiteX19" fmla="*/ 89042 w 149780"/>
                <a:gd name="connsiteY19" fmla="*/ 88105 h 202570"/>
                <a:gd name="connsiteX20" fmla="*/ 49244 w 149780"/>
                <a:gd name="connsiteY20" fmla="*/ 88105 h 202570"/>
                <a:gd name="connsiteX21" fmla="*/ 49244 w 149780"/>
                <a:gd name="connsiteY21" fmla="*/ 19829 h 202570"/>
                <a:gd name="connsiteX22" fmla="*/ 102550 w 149780"/>
                <a:gd name="connsiteY22" fmla="*/ 19829 h 202570"/>
                <a:gd name="connsiteX23" fmla="*/ 124310 w 149780"/>
                <a:gd name="connsiteY23" fmla="*/ 34226 h 202570"/>
                <a:gd name="connsiteX24" fmla="*/ 124883 w 149780"/>
                <a:gd name="connsiteY24" fmla="*/ 36286 h 202570"/>
                <a:gd name="connsiteX25" fmla="*/ 140100 w 149780"/>
                <a:gd name="connsiteY25" fmla="*/ 36286 h 202570"/>
                <a:gd name="connsiteX26" fmla="*/ 137595 w 149780"/>
                <a:gd name="connsiteY26" fmla="*/ 0 h 202570"/>
                <a:gd name="connsiteX27" fmla="*/ 222 w 149780"/>
                <a:gd name="connsiteY27" fmla="*/ 0 h 202570"/>
                <a:gd name="connsiteX28" fmla="*/ 222 w 149780"/>
                <a:gd name="connsiteY28" fmla="*/ 14198 h 202570"/>
                <a:gd name="connsiteX29" fmla="*/ 2798 w 149780"/>
                <a:gd name="connsiteY29" fmla="*/ 14374 h 202570"/>
                <a:gd name="connsiteX30" fmla="*/ 10207 w 149780"/>
                <a:gd name="connsiteY30" fmla="*/ 32412 h 2025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149780" h="202570">
                  <a:moveTo>
                    <a:pt x="10184" y="176725"/>
                  </a:moveTo>
                  <a:cubicBezTo>
                    <a:pt x="9973" y="184626"/>
                    <a:pt x="9774" y="187260"/>
                    <a:pt x="2540" y="187986"/>
                  </a:cubicBezTo>
                  <a:lnTo>
                    <a:pt x="0" y="188232"/>
                  </a:lnTo>
                  <a:lnTo>
                    <a:pt x="0" y="202571"/>
                  </a:lnTo>
                  <a:lnTo>
                    <a:pt x="144864" y="202571"/>
                  </a:lnTo>
                  <a:lnTo>
                    <a:pt x="149780" y="162059"/>
                  </a:lnTo>
                  <a:lnTo>
                    <a:pt x="134563" y="162176"/>
                  </a:lnTo>
                  <a:lnTo>
                    <a:pt x="133943" y="164107"/>
                  </a:lnTo>
                  <a:cubicBezTo>
                    <a:pt x="127927" y="182964"/>
                    <a:pt x="121734" y="182906"/>
                    <a:pt x="101379" y="182754"/>
                  </a:cubicBezTo>
                  <a:lnTo>
                    <a:pt x="64192" y="182754"/>
                  </a:lnTo>
                  <a:cubicBezTo>
                    <a:pt x="49654" y="182754"/>
                    <a:pt x="49244" y="179909"/>
                    <a:pt x="49244" y="162749"/>
                  </a:cubicBezTo>
                  <a:lnTo>
                    <a:pt x="49244" y="107875"/>
                  </a:lnTo>
                  <a:lnTo>
                    <a:pt x="89042" y="107875"/>
                  </a:lnTo>
                  <a:cubicBezTo>
                    <a:pt x="102292" y="107875"/>
                    <a:pt x="105066" y="108168"/>
                    <a:pt x="107630" y="118878"/>
                  </a:cubicBezTo>
                  <a:lnTo>
                    <a:pt x="108051" y="121219"/>
                  </a:lnTo>
                  <a:lnTo>
                    <a:pt x="122542" y="121219"/>
                  </a:lnTo>
                  <a:lnTo>
                    <a:pt x="122542" y="75569"/>
                  </a:lnTo>
                  <a:lnTo>
                    <a:pt x="108285" y="75569"/>
                  </a:lnTo>
                  <a:lnTo>
                    <a:pt x="107934" y="77910"/>
                  </a:lnTo>
                  <a:cubicBezTo>
                    <a:pt x="106248" y="87368"/>
                    <a:pt x="103158" y="88105"/>
                    <a:pt x="89042" y="88105"/>
                  </a:cubicBezTo>
                  <a:lnTo>
                    <a:pt x="49244" y="88105"/>
                  </a:lnTo>
                  <a:lnTo>
                    <a:pt x="49244" y="19829"/>
                  </a:lnTo>
                  <a:lnTo>
                    <a:pt x="102550" y="19829"/>
                  </a:lnTo>
                  <a:cubicBezTo>
                    <a:pt x="116233" y="19829"/>
                    <a:pt x="120716" y="19829"/>
                    <a:pt x="124310" y="34226"/>
                  </a:cubicBezTo>
                  <a:lnTo>
                    <a:pt x="124883" y="36286"/>
                  </a:lnTo>
                  <a:lnTo>
                    <a:pt x="140100" y="36286"/>
                  </a:lnTo>
                  <a:lnTo>
                    <a:pt x="137595" y="0"/>
                  </a:lnTo>
                  <a:lnTo>
                    <a:pt x="222" y="0"/>
                  </a:lnTo>
                  <a:lnTo>
                    <a:pt x="222" y="14198"/>
                  </a:lnTo>
                  <a:lnTo>
                    <a:pt x="2798" y="14374"/>
                  </a:lnTo>
                  <a:cubicBezTo>
                    <a:pt x="10102" y="15252"/>
                    <a:pt x="10113" y="17886"/>
                    <a:pt x="10207" y="32412"/>
                  </a:cubicBez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5" name="Freihandform: Form 10">
              <a:extLst>
                <a:ext uri="{FF2B5EF4-FFF2-40B4-BE49-F238E27FC236}">
                  <a16:creationId xmlns:a16="http://schemas.microsoft.com/office/drawing/2014/main" id="{05704E5D-EF36-7ACB-EA1C-3F44DD81FE22}"/>
                </a:ext>
              </a:extLst>
            </p:cNvPr>
            <p:cNvSpPr/>
            <p:nvPr/>
          </p:nvSpPr>
          <p:spPr>
            <a:xfrm>
              <a:off x="11496262" y="332657"/>
              <a:ext cx="216465" cy="208540"/>
            </a:xfrm>
            <a:custGeom>
              <a:avLst/>
              <a:gdLst>
                <a:gd name="connsiteX0" fmla="*/ 145742 w 216465"/>
                <a:gd name="connsiteY0" fmla="*/ 131087 h 208540"/>
                <a:gd name="connsiteX1" fmla="*/ 125609 w 216465"/>
                <a:gd name="connsiteY1" fmla="*/ 111902 h 208540"/>
                <a:gd name="connsiteX2" fmla="*/ 162609 w 216465"/>
                <a:gd name="connsiteY2" fmla="*/ 59556 h 208540"/>
                <a:gd name="connsiteX3" fmla="*/ 74738 w 216465"/>
                <a:gd name="connsiteY3" fmla="*/ 0 h 208540"/>
                <a:gd name="connsiteX4" fmla="*/ 36321 w 216465"/>
                <a:gd name="connsiteY4" fmla="*/ 632 h 208540"/>
                <a:gd name="connsiteX5" fmla="*/ 15147 w 216465"/>
                <a:gd name="connsiteY5" fmla="*/ 1662 h 208540"/>
                <a:gd name="connsiteX6" fmla="*/ 6450 w 216465"/>
                <a:gd name="connsiteY6" fmla="*/ 2247 h 208540"/>
                <a:gd name="connsiteX7" fmla="*/ 6450 w 216465"/>
                <a:gd name="connsiteY7" fmla="*/ 16586 h 208540"/>
                <a:gd name="connsiteX8" fmla="*/ 8978 w 216465"/>
                <a:gd name="connsiteY8" fmla="*/ 16703 h 208540"/>
                <a:gd name="connsiteX9" fmla="*/ 17698 w 216465"/>
                <a:gd name="connsiteY9" fmla="*/ 25061 h 208540"/>
                <a:gd name="connsiteX10" fmla="*/ 17581 w 216465"/>
                <a:gd name="connsiteY10" fmla="*/ 173413 h 208540"/>
                <a:gd name="connsiteX11" fmla="*/ 2669 w 216465"/>
                <a:gd name="connsiteY11" fmla="*/ 191486 h 208540"/>
                <a:gd name="connsiteX12" fmla="*/ 0 w 216465"/>
                <a:gd name="connsiteY12" fmla="*/ 191626 h 208540"/>
                <a:gd name="connsiteX13" fmla="*/ 0 w 216465"/>
                <a:gd name="connsiteY13" fmla="*/ 205672 h 208540"/>
                <a:gd name="connsiteX14" fmla="*/ 76435 w 216465"/>
                <a:gd name="connsiteY14" fmla="*/ 205672 h 208540"/>
                <a:gd name="connsiteX15" fmla="*/ 76435 w 216465"/>
                <a:gd name="connsiteY15" fmla="*/ 191544 h 208540"/>
                <a:gd name="connsiteX16" fmla="*/ 73790 w 216465"/>
                <a:gd name="connsiteY16" fmla="*/ 191544 h 208540"/>
                <a:gd name="connsiteX17" fmla="*/ 58374 w 216465"/>
                <a:gd name="connsiteY17" fmla="*/ 164353 h 208540"/>
                <a:gd name="connsiteX18" fmla="*/ 58374 w 216465"/>
                <a:gd name="connsiteY18" fmla="*/ 124192 h 208540"/>
                <a:gd name="connsiteX19" fmla="*/ 82651 w 216465"/>
                <a:gd name="connsiteY19" fmla="*/ 123982 h 208540"/>
                <a:gd name="connsiteX20" fmla="*/ 115425 w 216465"/>
                <a:gd name="connsiteY20" fmla="*/ 153526 h 208540"/>
                <a:gd name="connsiteX21" fmla="*/ 132035 w 216465"/>
                <a:gd name="connsiteY21" fmla="*/ 170276 h 208540"/>
                <a:gd name="connsiteX22" fmla="*/ 141926 w 216465"/>
                <a:gd name="connsiteY22" fmla="*/ 180612 h 208540"/>
                <a:gd name="connsiteX23" fmla="*/ 148797 w 216465"/>
                <a:gd name="connsiteY23" fmla="*/ 188232 h 208540"/>
                <a:gd name="connsiteX24" fmla="*/ 201798 w 216465"/>
                <a:gd name="connsiteY24" fmla="*/ 208540 h 208540"/>
                <a:gd name="connsiteX25" fmla="*/ 213281 w 216465"/>
                <a:gd name="connsiteY25" fmla="*/ 208376 h 208540"/>
                <a:gd name="connsiteX26" fmla="*/ 216465 w 216465"/>
                <a:gd name="connsiteY26" fmla="*/ 208306 h 208540"/>
                <a:gd name="connsiteX27" fmla="*/ 216465 w 216465"/>
                <a:gd name="connsiteY27" fmla="*/ 194201 h 208540"/>
                <a:gd name="connsiteX28" fmla="*/ 213504 w 216465"/>
                <a:gd name="connsiteY28" fmla="*/ 193932 h 208540"/>
                <a:gd name="connsiteX29" fmla="*/ 213504 w 216465"/>
                <a:gd name="connsiteY29" fmla="*/ 193932 h 208540"/>
                <a:gd name="connsiteX30" fmla="*/ 190316 w 216465"/>
                <a:gd name="connsiteY30" fmla="*/ 177159 h 208540"/>
                <a:gd name="connsiteX31" fmla="*/ 171131 w 216465"/>
                <a:gd name="connsiteY31" fmla="*/ 156967 h 208540"/>
                <a:gd name="connsiteX32" fmla="*/ 119031 w 216465"/>
                <a:gd name="connsiteY32" fmla="*/ 62728 h 208540"/>
                <a:gd name="connsiteX33" fmla="*/ 65713 w 216465"/>
                <a:gd name="connsiteY33" fmla="*/ 110041 h 208540"/>
                <a:gd name="connsiteX34" fmla="*/ 58397 w 216465"/>
                <a:gd name="connsiteY34" fmla="*/ 109725 h 208540"/>
                <a:gd name="connsiteX35" fmla="*/ 58397 w 216465"/>
                <a:gd name="connsiteY35" fmla="*/ 15334 h 208540"/>
                <a:gd name="connsiteX36" fmla="*/ 71542 w 216465"/>
                <a:gd name="connsiteY36" fmla="*/ 15182 h 208540"/>
                <a:gd name="connsiteX37" fmla="*/ 119031 w 216465"/>
                <a:gd name="connsiteY37" fmla="*/ 62728 h 2085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16465" h="208540">
                  <a:moveTo>
                    <a:pt x="145742" y="131087"/>
                  </a:moveTo>
                  <a:cubicBezTo>
                    <a:pt x="143541" y="128874"/>
                    <a:pt x="132632" y="117930"/>
                    <a:pt x="125609" y="111902"/>
                  </a:cubicBezTo>
                  <a:cubicBezTo>
                    <a:pt x="150190" y="100325"/>
                    <a:pt x="162609" y="82721"/>
                    <a:pt x="162609" y="59556"/>
                  </a:cubicBezTo>
                  <a:cubicBezTo>
                    <a:pt x="162609" y="41647"/>
                    <a:pt x="154053" y="0"/>
                    <a:pt x="74738" y="0"/>
                  </a:cubicBezTo>
                  <a:cubicBezTo>
                    <a:pt x="68242" y="0"/>
                    <a:pt x="53037" y="0"/>
                    <a:pt x="36321" y="632"/>
                  </a:cubicBezTo>
                  <a:cubicBezTo>
                    <a:pt x="26243" y="1077"/>
                    <a:pt x="20332" y="1393"/>
                    <a:pt x="15147" y="1662"/>
                  </a:cubicBezTo>
                  <a:lnTo>
                    <a:pt x="6450" y="2247"/>
                  </a:lnTo>
                  <a:lnTo>
                    <a:pt x="6450" y="16586"/>
                  </a:lnTo>
                  <a:lnTo>
                    <a:pt x="8978" y="16703"/>
                  </a:lnTo>
                  <a:cubicBezTo>
                    <a:pt x="15240" y="17160"/>
                    <a:pt x="17616" y="18787"/>
                    <a:pt x="17698" y="25061"/>
                  </a:cubicBezTo>
                  <a:lnTo>
                    <a:pt x="17581" y="173413"/>
                  </a:lnTo>
                  <a:cubicBezTo>
                    <a:pt x="17195" y="185715"/>
                    <a:pt x="16411" y="190842"/>
                    <a:pt x="2669" y="191486"/>
                  </a:cubicBezTo>
                  <a:lnTo>
                    <a:pt x="0" y="191626"/>
                  </a:lnTo>
                  <a:lnTo>
                    <a:pt x="0" y="205672"/>
                  </a:lnTo>
                  <a:lnTo>
                    <a:pt x="76435" y="205672"/>
                  </a:lnTo>
                  <a:lnTo>
                    <a:pt x="76435" y="191544"/>
                  </a:lnTo>
                  <a:lnTo>
                    <a:pt x="73790" y="191544"/>
                  </a:lnTo>
                  <a:cubicBezTo>
                    <a:pt x="58362" y="190783"/>
                    <a:pt x="58374" y="187260"/>
                    <a:pt x="58374" y="164353"/>
                  </a:cubicBezTo>
                  <a:lnTo>
                    <a:pt x="58374" y="124192"/>
                  </a:lnTo>
                  <a:cubicBezTo>
                    <a:pt x="66462" y="124664"/>
                    <a:pt x="74574" y="124593"/>
                    <a:pt x="82651" y="123982"/>
                  </a:cubicBezTo>
                  <a:cubicBezTo>
                    <a:pt x="95000" y="133205"/>
                    <a:pt x="99635" y="137583"/>
                    <a:pt x="115425" y="153526"/>
                  </a:cubicBezTo>
                  <a:lnTo>
                    <a:pt x="132035" y="170276"/>
                  </a:lnTo>
                  <a:cubicBezTo>
                    <a:pt x="135804" y="174092"/>
                    <a:pt x="139058" y="177556"/>
                    <a:pt x="141926" y="180612"/>
                  </a:cubicBezTo>
                  <a:cubicBezTo>
                    <a:pt x="144525" y="183374"/>
                    <a:pt x="146784" y="185949"/>
                    <a:pt x="148797" y="188232"/>
                  </a:cubicBezTo>
                  <a:cubicBezTo>
                    <a:pt x="161087" y="202173"/>
                    <a:pt x="166706" y="208540"/>
                    <a:pt x="201798" y="208540"/>
                  </a:cubicBezTo>
                  <a:cubicBezTo>
                    <a:pt x="205310" y="208540"/>
                    <a:pt x="209044" y="208540"/>
                    <a:pt x="213281" y="208376"/>
                  </a:cubicBezTo>
                  <a:lnTo>
                    <a:pt x="216465" y="208306"/>
                  </a:lnTo>
                  <a:lnTo>
                    <a:pt x="216465" y="194201"/>
                  </a:lnTo>
                  <a:lnTo>
                    <a:pt x="213504" y="193932"/>
                  </a:lnTo>
                  <a:lnTo>
                    <a:pt x="213504" y="193932"/>
                  </a:lnTo>
                  <a:cubicBezTo>
                    <a:pt x="205228" y="193160"/>
                    <a:pt x="200253" y="187810"/>
                    <a:pt x="190316" y="177159"/>
                  </a:cubicBezTo>
                  <a:lnTo>
                    <a:pt x="171131" y="156967"/>
                  </a:lnTo>
                  <a:close/>
                  <a:moveTo>
                    <a:pt x="119031" y="62728"/>
                  </a:moveTo>
                  <a:cubicBezTo>
                    <a:pt x="119031" y="95210"/>
                    <a:pt x="104247" y="108554"/>
                    <a:pt x="65713" y="110041"/>
                  </a:cubicBezTo>
                  <a:cubicBezTo>
                    <a:pt x="64543" y="110041"/>
                    <a:pt x="61195" y="110041"/>
                    <a:pt x="58397" y="109725"/>
                  </a:cubicBezTo>
                  <a:lnTo>
                    <a:pt x="58397" y="15334"/>
                  </a:lnTo>
                  <a:cubicBezTo>
                    <a:pt x="62225" y="15182"/>
                    <a:pt x="68101" y="15182"/>
                    <a:pt x="71542" y="15182"/>
                  </a:cubicBezTo>
                  <a:cubicBezTo>
                    <a:pt x="103193" y="15170"/>
                    <a:pt x="119031" y="31159"/>
                    <a:pt x="119031" y="62728"/>
                  </a:cubicBez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8" name="Freihandform: Form 11">
              <a:extLst>
                <a:ext uri="{FF2B5EF4-FFF2-40B4-BE49-F238E27FC236}">
                  <a16:creationId xmlns:a16="http://schemas.microsoft.com/office/drawing/2014/main" id="{7ECE5ED0-6B0A-EE02-B575-242372D18830}"/>
                </a:ext>
              </a:extLst>
            </p:cNvPr>
            <p:cNvSpPr/>
            <p:nvPr/>
          </p:nvSpPr>
          <p:spPr>
            <a:xfrm>
              <a:off x="10830304" y="335724"/>
              <a:ext cx="207171" cy="202652"/>
            </a:xfrm>
            <a:custGeom>
              <a:avLst/>
              <a:gdLst>
                <a:gd name="connsiteX0" fmla="*/ 121430 w 207171"/>
                <a:gd name="connsiteY0" fmla="*/ 0 h 202652"/>
                <a:gd name="connsiteX1" fmla="*/ 90762 w 207171"/>
                <a:gd name="connsiteY1" fmla="*/ 0 h 202652"/>
                <a:gd name="connsiteX2" fmla="*/ 24979 w 207171"/>
                <a:gd name="connsiteY2" fmla="*/ 164529 h 202652"/>
                <a:gd name="connsiteX3" fmla="*/ 2610 w 207171"/>
                <a:gd name="connsiteY3" fmla="*/ 188431 h 202652"/>
                <a:gd name="connsiteX4" fmla="*/ 0 w 207171"/>
                <a:gd name="connsiteY4" fmla="*/ 188606 h 202652"/>
                <a:gd name="connsiteX5" fmla="*/ 0 w 207171"/>
                <a:gd name="connsiteY5" fmla="*/ 202652 h 202652"/>
                <a:gd name="connsiteX6" fmla="*/ 56735 w 207171"/>
                <a:gd name="connsiteY6" fmla="*/ 202652 h 202652"/>
                <a:gd name="connsiteX7" fmla="*/ 56735 w 207171"/>
                <a:gd name="connsiteY7" fmla="*/ 188712 h 202652"/>
                <a:gd name="connsiteX8" fmla="*/ 54184 w 207171"/>
                <a:gd name="connsiteY8" fmla="*/ 188489 h 202652"/>
                <a:gd name="connsiteX9" fmla="*/ 41530 w 207171"/>
                <a:gd name="connsiteY9" fmla="*/ 178879 h 202652"/>
                <a:gd name="connsiteX10" fmla="*/ 44562 w 207171"/>
                <a:gd name="connsiteY10" fmla="*/ 167478 h 202652"/>
                <a:gd name="connsiteX11" fmla="*/ 59779 w 207171"/>
                <a:gd name="connsiteY11" fmla="*/ 128196 h 202652"/>
                <a:gd name="connsiteX12" fmla="*/ 129706 w 207171"/>
                <a:gd name="connsiteY12" fmla="*/ 128196 h 202652"/>
                <a:gd name="connsiteX13" fmla="*/ 144923 w 207171"/>
                <a:gd name="connsiteY13" fmla="*/ 167385 h 202652"/>
                <a:gd name="connsiteX14" fmla="*/ 148844 w 207171"/>
                <a:gd name="connsiteY14" fmla="*/ 179734 h 202652"/>
                <a:gd name="connsiteX15" fmla="*/ 148937 w 207171"/>
                <a:gd name="connsiteY15" fmla="*/ 180202 h 202652"/>
                <a:gd name="connsiteX16" fmla="*/ 147896 w 207171"/>
                <a:gd name="connsiteY16" fmla="*/ 184802 h 202652"/>
                <a:gd name="connsiteX17" fmla="*/ 136577 w 207171"/>
                <a:gd name="connsiteY17" fmla="*/ 188243 h 202652"/>
                <a:gd name="connsiteX18" fmla="*/ 134002 w 207171"/>
                <a:gd name="connsiteY18" fmla="*/ 188442 h 202652"/>
                <a:gd name="connsiteX19" fmla="*/ 134002 w 207171"/>
                <a:gd name="connsiteY19" fmla="*/ 202606 h 202652"/>
                <a:gd name="connsiteX20" fmla="*/ 207171 w 207171"/>
                <a:gd name="connsiteY20" fmla="*/ 202606 h 202652"/>
                <a:gd name="connsiteX21" fmla="*/ 207171 w 207171"/>
                <a:gd name="connsiteY21" fmla="*/ 188700 h 202652"/>
                <a:gd name="connsiteX22" fmla="*/ 204502 w 207171"/>
                <a:gd name="connsiteY22" fmla="*/ 188559 h 202652"/>
                <a:gd name="connsiteX23" fmla="*/ 184603 w 207171"/>
                <a:gd name="connsiteY23" fmla="*/ 167759 h 202652"/>
                <a:gd name="connsiteX24" fmla="*/ 121641 w 207171"/>
                <a:gd name="connsiteY24" fmla="*/ 107161 h 202652"/>
                <a:gd name="connsiteX25" fmla="*/ 67797 w 207171"/>
                <a:gd name="connsiteY25" fmla="*/ 107161 h 202652"/>
                <a:gd name="connsiteX26" fmla="*/ 95140 w 207171"/>
                <a:gd name="connsiteY26" fmla="*/ 37012 h 2026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207171" h="202652">
                  <a:moveTo>
                    <a:pt x="121430" y="0"/>
                  </a:moveTo>
                  <a:lnTo>
                    <a:pt x="90762" y="0"/>
                  </a:lnTo>
                  <a:lnTo>
                    <a:pt x="24979" y="164529"/>
                  </a:lnTo>
                  <a:cubicBezTo>
                    <a:pt x="17172" y="183994"/>
                    <a:pt x="15755" y="187506"/>
                    <a:pt x="2610" y="188431"/>
                  </a:cubicBezTo>
                  <a:lnTo>
                    <a:pt x="0" y="188606"/>
                  </a:lnTo>
                  <a:lnTo>
                    <a:pt x="0" y="202652"/>
                  </a:lnTo>
                  <a:lnTo>
                    <a:pt x="56735" y="202652"/>
                  </a:lnTo>
                  <a:lnTo>
                    <a:pt x="56735" y="188712"/>
                  </a:lnTo>
                  <a:lnTo>
                    <a:pt x="54184" y="188489"/>
                  </a:lnTo>
                  <a:cubicBezTo>
                    <a:pt x="43649" y="187319"/>
                    <a:pt x="41202" y="183315"/>
                    <a:pt x="41530" y="178879"/>
                  </a:cubicBezTo>
                  <a:cubicBezTo>
                    <a:pt x="41741" y="176105"/>
                    <a:pt x="42572" y="172839"/>
                    <a:pt x="44562" y="167478"/>
                  </a:cubicBezTo>
                  <a:lnTo>
                    <a:pt x="59779" y="128196"/>
                  </a:lnTo>
                  <a:lnTo>
                    <a:pt x="129706" y="128196"/>
                  </a:lnTo>
                  <a:lnTo>
                    <a:pt x="144923" y="167385"/>
                  </a:lnTo>
                  <a:cubicBezTo>
                    <a:pt x="147369" y="174326"/>
                    <a:pt x="147907" y="175672"/>
                    <a:pt x="148844" y="179734"/>
                  </a:cubicBezTo>
                  <a:lnTo>
                    <a:pt x="148937" y="180202"/>
                  </a:lnTo>
                  <a:cubicBezTo>
                    <a:pt x="149324" y="181814"/>
                    <a:pt x="148939" y="183513"/>
                    <a:pt x="147896" y="184802"/>
                  </a:cubicBezTo>
                  <a:cubicBezTo>
                    <a:pt x="146421" y="186651"/>
                    <a:pt x="142780" y="187763"/>
                    <a:pt x="136577" y="188243"/>
                  </a:cubicBezTo>
                  <a:lnTo>
                    <a:pt x="134002" y="188442"/>
                  </a:lnTo>
                  <a:lnTo>
                    <a:pt x="134002" y="202606"/>
                  </a:lnTo>
                  <a:lnTo>
                    <a:pt x="207171" y="202606"/>
                  </a:lnTo>
                  <a:lnTo>
                    <a:pt x="207171" y="188700"/>
                  </a:lnTo>
                  <a:lnTo>
                    <a:pt x="204502" y="188559"/>
                  </a:lnTo>
                  <a:cubicBezTo>
                    <a:pt x="191989" y="187986"/>
                    <a:pt x="190854" y="184896"/>
                    <a:pt x="184603" y="167759"/>
                  </a:cubicBezTo>
                  <a:close/>
                  <a:moveTo>
                    <a:pt x="121641" y="107161"/>
                  </a:moveTo>
                  <a:lnTo>
                    <a:pt x="67797" y="107161"/>
                  </a:lnTo>
                  <a:lnTo>
                    <a:pt x="95140" y="37012"/>
                  </a:ln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9" name="Freihandform: Form 12">
              <a:extLst>
                <a:ext uri="{FF2B5EF4-FFF2-40B4-BE49-F238E27FC236}">
                  <a16:creationId xmlns:a16="http://schemas.microsoft.com/office/drawing/2014/main" id="{4C35C0CA-B9A0-7EDB-8C17-3D7F3042393A}"/>
                </a:ext>
              </a:extLst>
            </p:cNvPr>
            <p:cNvSpPr/>
            <p:nvPr/>
          </p:nvSpPr>
          <p:spPr>
            <a:xfrm>
              <a:off x="11256925" y="330434"/>
              <a:ext cx="218794" cy="212964"/>
            </a:xfrm>
            <a:custGeom>
              <a:avLst/>
              <a:gdLst>
                <a:gd name="connsiteX0" fmla="*/ 109397 w 218794"/>
                <a:gd name="connsiteY0" fmla="*/ 0 h 212964"/>
                <a:gd name="connsiteX1" fmla="*/ 0 w 218794"/>
                <a:gd name="connsiteY1" fmla="*/ 111878 h 212964"/>
                <a:gd name="connsiteX2" fmla="*/ 108227 w 218794"/>
                <a:gd name="connsiteY2" fmla="*/ 212965 h 212964"/>
                <a:gd name="connsiteX3" fmla="*/ 218794 w 218794"/>
                <a:gd name="connsiteY3" fmla="*/ 102994 h 212964"/>
                <a:gd name="connsiteX4" fmla="*/ 109397 w 218794"/>
                <a:gd name="connsiteY4" fmla="*/ 0 h 212964"/>
                <a:gd name="connsiteX5" fmla="*/ 177861 w 218794"/>
                <a:gd name="connsiteY5" fmla="*/ 110919 h 212964"/>
                <a:gd name="connsiteX6" fmla="*/ 112897 w 218794"/>
                <a:gd name="connsiteY6" fmla="*/ 197210 h 212964"/>
                <a:gd name="connsiteX7" fmla="*/ 40945 w 218794"/>
                <a:gd name="connsiteY7" fmla="*/ 103310 h 212964"/>
                <a:gd name="connsiteX8" fmla="*/ 107056 w 218794"/>
                <a:gd name="connsiteY8" fmla="*/ 15744 h 212964"/>
                <a:gd name="connsiteX9" fmla="*/ 177861 w 218794"/>
                <a:gd name="connsiteY9" fmla="*/ 110919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18794" h="212964">
                  <a:moveTo>
                    <a:pt x="109397" y="0"/>
                  </a:moveTo>
                  <a:cubicBezTo>
                    <a:pt x="45966" y="0"/>
                    <a:pt x="0" y="47043"/>
                    <a:pt x="0" y="111878"/>
                  </a:cubicBezTo>
                  <a:cubicBezTo>
                    <a:pt x="0" y="170405"/>
                    <a:pt x="45522" y="212965"/>
                    <a:pt x="108227" y="212965"/>
                  </a:cubicBezTo>
                  <a:cubicBezTo>
                    <a:pt x="171259" y="212965"/>
                    <a:pt x="218794" y="165687"/>
                    <a:pt x="218794" y="102994"/>
                  </a:cubicBezTo>
                  <a:cubicBezTo>
                    <a:pt x="218794" y="42349"/>
                    <a:pt x="173811" y="0"/>
                    <a:pt x="109397" y="0"/>
                  </a:cubicBezTo>
                  <a:close/>
                  <a:moveTo>
                    <a:pt x="177861" y="110919"/>
                  </a:moveTo>
                  <a:cubicBezTo>
                    <a:pt x="177861" y="162539"/>
                    <a:pt x="151758" y="197210"/>
                    <a:pt x="112897" y="197210"/>
                  </a:cubicBezTo>
                  <a:cubicBezTo>
                    <a:pt x="77138" y="197210"/>
                    <a:pt x="40945" y="164950"/>
                    <a:pt x="40945" y="103310"/>
                  </a:cubicBezTo>
                  <a:cubicBezTo>
                    <a:pt x="40945" y="49302"/>
                    <a:pt x="66275" y="15744"/>
                    <a:pt x="107056" y="15744"/>
                  </a:cubicBezTo>
                  <a:cubicBezTo>
                    <a:pt x="148738" y="15744"/>
                    <a:pt x="177861" y="54886"/>
                    <a:pt x="177861" y="110919"/>
                  </a:cubicBez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0" name="Freihandform: Form 13">
              <a:extLst>
                <a:ext uri="{FF2B5EF4-FFF2-40B4-BE49-F238E27FC236}">
                  <a16:creationId xmlns:a16="http://schemas.microsoft.com/office/drawing/2014/main" id="{35E01CE3-9B7E-3132-01F5-5EEDC7B1C432}"/>
                </a:ext>
              </a:extLst>
            </p:cNvPr>
            <p:cNvSpPr/>
            <p:nvPr/>
          </p:nvSpPr>
          <p:spPr>
            <a:xfrm>
              <a:off x="11045727" y="330434"/>
              <a:ext cx="196811" cy="212964"/>
            </a:xfrm>
            <a:custGeom>
              <a:avLst/>
              <a:gdLst>
                <a:gd name="connsiteX0" fmla="*/ 196812 w 196811"/>
                <a:gd name="connsiteY0" fmla="*/ 165348 h 212964"/>
                <a:gd name="connsiteX1" fmla="*/ 180635 w 196811"/>
                <a:gd name="connsiteY1" fmla="*/ 165547 h 212964"/>
                <a:gd name="connsiteX2" fmla="*/ 179828 w 196811"/>
                <a:gd name="connsiteY2" fmla="*/ 166659 h 212964"/>
                <a:gd name="connsiteX3" fmla="*/ 118960 w 196811"/>
                <a:gd name="connsiteY3" fmla="*/ 195922 h 212964"/>
                <a:gd name="connsiteX4" fmla="*/ 70255 w 196811"/>
                <a:gd name="connsiteY4" fmla="*/ 176585 h 212964"/>
                <a:gd name="connsiteX5" fmla="*/ 41729 w 196811"/>
                <a:gd name="connsiteY5" fmla="*/ 102023 h 212964"/>
                <a:gd name="connsiteX6" fmla="*/ 113623 w 196811"/>
                <a:gd name="connsiteY6" fmla="*/ 15720 h 212964"/>
                <a:gd name="connsiteX7" fmla="*/ 179359 w 196811"/>
                <a:gd name="connsiteY7" fmla="*/ 50391 h 212964"/>
                <a:gd name="connsiteX8" fmla="*/ 180155 w 196811"/>
                <a:gd name="connsiteY8" fmla="*/ 51959 h 212964"/>
                <a:gd name="connsiteX9" fmla="*/ 193558 w 196811"/>
                <a:gd name="connsiteY9" fmla="*/ 51749 h 212964"/>
                <a:gd name="connsiteX10" fmla="*/ 192259 w 196811"/>
                <a:gd name="connsiteY10" fmla="*/ 9142 h 212964"/>
                <a:gd name="connsiteX11" fmla="*/ 181267 w 196811"/>
                <a:gd name="connsiteY11" fmla="*/ 9142 h 212964"/>
                <a:gd name="connsiteX12" fmla="*/ 180694 w 196811"/>
                <a:gd name="connsiteY12" fmla="*/ 9528 h 212964"/>
                <a:gd name="connsiteX13" fmla="*/ 176515 w 196811"/>
                <a:gd name="connsiteY13" fmla="*/ 10453 h 212964"/>
                <a:gd name="connsiteX14" fmla="*/ 163768 w 196811"/>
                <a:gd name="connsiteY14" fmla="*/ 7761 h 212964"/>
                <a:gd name="connsiteX15" fmla="*/ 112441 w 196811"/>
                <a:gd name="connsiteY15" fmla="*/ 0 h 212964"/>
                <a:gd name="connsiteX16" fmla="*/ 0 w 196811"/>
                <a:gd name="connsiteY16" fmla="*/ 110275 h 212964"/>
                <a:gd name="connsiteX17" fmla="*/ 110029 w 196811"/>
                <a:gd name="connsiteY17" fmla="*/ 212965 h 212964"/>
                <a:gd name="connsiteX18" fmla="*/ 149382 w 196811"/>
                <a:gd name="connsiteY18" fmla="*/ 208411 h 212964"/>
                <a:gd name="connsiteX19" fmla="*/ 169808 w 196811"/>
                <a:gd name="connsiteY19" fmla="*/ 205661 h 212964"/>
                <a:gd name="connsiteX20" fmla="*/ 172804 w 196811"/>
                <a:gd name="connsiteY20" fmla="*/ 205567 h 212964"/>
                <a:gd name="connsiteX21" fmla="*/ 179406 w 196811"/>
                <a:gd name="connsiteY21" fmla="*/ 205719 h 212964"/>
                <a:gd name="connsiteX22" fmla="*/ 182414 w 196811"/>
                <a:gd name="connsiteY22" fmla="*/ 206012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96811" h="212964">
                  <a:moveTo>
                    <a:pt x="196812" y="165348"/>
                  </a:moveTo>
                  <a:lnTo>
                    <a:pt x="180635" y="165547"/>
                  </a:lnTo>
                  <a:lnTo>
                    <a:pt x="179828" y="166659"/>
                  </a:lnTo>
                  <a:cubicBezTo>
                    <a:pt x="163440" y="186839"/>
                    <a:pt x="146315" y="195044"/>
                    <a:pt x="118960" y="195922"/>
                  </a:cubicBezTo>
                  <a:cubicBezTo>
                    <a:pt x="100712" y="196577"/>
                    <a:pt x="83927" y="189824"/>
                    <a:pt x="70255" y="176585"/>
                  </a:cubicBezTo>
                  <a:cubicBezTo>
                    <a:pt x="52123" y="159027"/>
                    <a:pt x="41729" y="131859"/>
                    <a:pt x="41729" y="102023"/>
                  </a:cubicBezTo>
                  <a:cubicBezTo>
                    <a:pt x="41729" y="50403"/>
                    <a:pt x="70618" y="15720"/>
                    <a:pt x="113623" y="15720"/>
                  </a:cubicBezTo>
                  <a:cubicBezTo>
                    <a:pt x="143799" y="15720"/>
                    <a:pt x="168989" y="28994"/>
                    <a:pt x="179359" y="50391"/>
                  </a:cubicBezTo>
                  <a:lnTo>
                    <a:pt x="180155" y="51959"/>
                  </a:lnTo>
                  <a:lnTo>
                    <a:pt x="193558" y="51749"/>
                  </a:lnTo>
                  <a:lnTo>
                    <a:pt x="192259" y="9142"/>
                  </a:lnTo>
                  <a:lnTo>
                    <a:pt x="181267" y="9142"/>
                  </a:lnTo>
                  <a:lnTo>
                    <a:pt x="180694" y="9528"/>
                  </a:lnTo>
                  <a:cubicBezTo>
                    <a:pt x="179431" y="10264"/>
                    <a:pt x="177970" y="10587"/>
                    <a:pt x="176515" y="10453"/>
                  </a:cubicBezTo>
                  <a:cubicBezTo>
                    <a:pt x="173928" y="10359"/>
                    <a:pt x="169492" y="9282"/>
                    <a:pt x="163768" y="7761"/>
                  </a:cubicBezTo>
                  <a:cubicBezTo>
                    <a:pt x="152039" y="4682"/>
                    <a:pt x="134259" y="0"/>
                    <a:pt x="112441" y="0"/>
                  </a:cubicBezTo>
                  <a:cubicBezTo>
                    <a:pt x="34765" y="0"/>
                    <a:pt x="0" y="55377"/>
                    <a:pt x="0" y="110275"/>
                  </a:cubicBezTo>
                  <a:cubicBezTo>
                    <a:pt x="0" y="172652"/>
                    <a:pt x="43192" y="212965"/>
                    <a:pt x="110029" y="212965"/>
                  </a:cubicBezTo>
                  <a:cubicBezTo>
                    <a:pt x="124965" y="212965"/>
                    <a:pt x="138461" y="210448"/>
                    <a:pt x="149382" y="208411"/>
                  </a:cubicBezTo>
                  <a:cubicBezTo>
                    <a:pt x="156745" y="207030"/>
                    <a:pt x="163838" y="205789"/>
                    <a:pt x="169808" y="205661"/>
                  </a:cubicBezTo>
                  <a:cubicBezTo>
                    <a:pt x="171119" y="205661"/>
                    <a:pt x="172032" y="205661"/>
                    <a:pt x="172804" y="205567"/>
                  </a:cubicBezTo>
                  <a:cubicBezTo>
                    <a:pt x="175006" y="205507"/>
                    <a:pt x="177209" y="205558"/>
                    <a:pt x="179406" y="205719"/>
                  </a:cubicBezTo>
                  <a:lnTo>
                    <a:pt x="182414" y="206012"/>
                  </a:ln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26" name="Inhaltsplatzhalter 25">
            <a:extLst>
              <a:ext uri="{FF2B5EF4-FFF2-40B4-BE49-F238E27FC236}">
                <a16:creationId xmlns:a16="http://schemas.microsoft.com/office/drawing/2014/main" id="{15525724-B25E-C57C-BD5B-DA167EB3BDED}"/>
              </a:ext>
            </a:extLst>
          </p:cNvPr>
          <p:cNvSpPr>
            <a:spLocks noGrp="1"/>
          </p:cNvSpPr>
          <p:nvPr>
            <p:ph sz="quarter" idx="24" hasCustomPrompt="1"/>
          </p:nvPr>
        </p:nvSpPr>
        <p:spPr>
          <a:xfrm>
            <a:off x="666000" y="1224000"/>
            <a:ext cx="3600000" cy="2250000"/>
          </a:xfrm>
        </p:spPr>
        <p:txBody>
          <a:bodyPr anchor="ctr"/>
          <a:lstStyle>
            <a:lvl1pPr algn="ctr">
              <a:defRPr/>
            </a:lvl1pPr>
          </a:lstStyle>
          <a:p>
            <a:pPr lvl="0"/>
            <a:r>
              <a:rPr lang="de-DE"/>
              <a:t>Foto</a:t>
            </a:r>
          </a:p>
        </p:txBody>
      </p:sp>
      <p:sp>
        <p:nvSpPr>
          <p:cNvPr id="10" name="Rechteck: abgerundete Ecken 11">
            <a:extLst>
              <a:ext uri="{FF2B5EF4-FFF2-40B4-BE49-F238E27FC236}">
                <a16:creationId xmlns:a16="http://schemas.microsoft.com/office/drawing/2014/main" id="{92C96352-573F-2FC9-E98D-F8CAD77D796D}"/>
              </a:ext>
            </a:extLst>
          </p:cNvPr>
          <p:cNvSpPr>
            <a:spLocks/>
          </p:cNvSpPr>
          <p:nvPr userDrawn="1"/>
        </p:nvSpPr>
        <p:spPr>
          <a:xfrm>
            <a:off x="478800" y="3767357"/>
            <a:ext cx="3162469" cy="215444"/>
          </a:xfrm>
          <a:prstGeom prst="roundRect">
            <a:avLst>
              <a:gd name="adj" fmla="val 0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400" b="1" cap="all" spc="0" baseline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JEKTERFAHRUNGEN (AUSZUG)</a:t>
            </a:r>
          </a:p>
        </p:txBody>
      </p:sp>
      <p:sp>
        <p:nvSpPr>
          <p:cNvPr id="2" name="Rechteck: abgerundete Ecken 11">
            <a:extLst>
              <a:ext uri="{FF2B5EF4-FFF2-40B4-BE49-F238E27FC236}">
                <a16:creationId xmlns:a16="http://schemas.microsoft.com/office/drawing/2014/main" id="{D550E258-96D1-B5F1-2DCF-D0CEF37C0371}"/>
              </a:ext>
            </a:extLst>
          </p:cNvPr>
          <p:cNvSpPr>
            <a:spLocks/>
          </p:cNvSpPr>
          <p:nvPr userDrawn="1"/>
        </p:nvSpPr>
        <p:spPr>
          <a:xfrm>
            <a:off x="4481282" y="1194852"/>
            <a:ext cx="628377" cy="215444"/>
          </a:xfrm>
          <a:prstGeom prst="roundRect">
            <a:avLst>
              <a:gd name="adj" fmla="val 0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400" b="1" cap="all" spc="0" baseline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KUS</a:t>
            </a:r>
          </a:p>
        </p:txBody>
      </p:sp>
      <p:sp>
        <p:nvSpPr>
          <p:cNvPr id="6" name="Rechteck: abgerundete Ecken 11">
            <a:extLst>
              <a:ext uri="{FF2B5EF4-FFF2-40B4-BE49-F238E27FC236}">
                <a16:creationId xmlns:a16="http://schemas.microsoft.com/office/drawing/2014/main" id="{8485AF46-F0DE-B958-C8AD-CA5D2ABD1E34}"/>
              </a:ext>
            </a:extLst>
          </p:cNvPr>
          <p:cNvSpPr>
            <a:spLocks/>
          </p:cNvSpPr>
          <p:nvPr userDrawn="1"/>
        </p:nvSpPr>
        <p:spPr>
          <a:xfrm>
            <a:off x="7798631" y="1194852"/>
            <a:ext cx="3771610" cy="215444"/>
          </a:xfrm>
          <a:prstGeom prst="roundRect">
            <a:avLst>
              <a:gd name="adj" fmla="val 0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400" b="1" cap="all" spc="0" baseline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USBILDUNG &amp; BERUFLICHE ERFAHRUNG</a:t>
            </a:r>
          </a:p>
        </p:txBody>
      </p:sp>
      <p:sp>
        <p:nvSpPr>
          <p:cNvPr id="11" name="Textplatzhalter 19">
            <a:extLst>
              <a:ext uri="{FF2B5EF4-FFF2-40B4-BE49-F238E27FC236}">
                <a16:creationId xmlns:a16="http://schemas.microsoft.com/office/drawing/2014/main" id="{84B69629-DFBF-5909-FA8F-47719B924F9D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478797" y="4082736"/>
            <a:ext cx="5501753" cy="2281242"/>
          </a:xfrm>
        </p:spPr>
        <p:txBody>
          <a:bodyPr wrap="square">
            <a:noAutofit/>
          </a:bodyPr>
          <a:lstStyle>
            <a:lvl1pPr marL="171450" indent="-17145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Wingdings" pitchFamily="2" charset="2"/>
              <a:buChar char="§"/>
              <a:defRPr sz="1000" b="0">
                <a:solidFill>
                  <a:schemeClr val="bg1"/>
                </a:solidFill>
              </a:defRPr>
            </a:lvl1pPr>
          </a:lstStyle>
          <a:p>
            <a:pPr lvl="0"/>
            <a:endParaRPr lang="de-DE"/>
          </a:p>
        </p:txBody>
      </p:sp>
      <p:sp>
        <p:nvSpPr>
          <p:cNvPr id="13" name="Textplatzhalter 19">
            <a:extLst>
              <a:ext uri="{FF2B5EF4-FFF2-40B4-BE49-F238E27FC236}">
                <a16:creationId xmlns:a16="http://schemas.microsoft.com/office/drawing/2014/main" id="{C7978A72-8177-2FE6-F6E3-52F77F104F6C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6198247" y="4082736"/>
            <a:ext cx="5514479" cy="2281242"/>
          </a:xfrm>
        </p:spPr>
        <p:txBody>
          <a:bodyPr wrap="square">
            <a:noAutofit/>
          </a:bodyPr>
          <a:lstStyle>
            <a:lvl1pPr marL="171450" indent="-17145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Wingdings" pitchFamily="2" charset="2"/>
              <a:buChar char="§"/>
              <a:defRPr sz="1000" b="0">
                <a:solidFill>
                  <a:schemeClr val="bg1"/>
                </a:solidFill>
              </a:defRPr>
            </a:lvl1pPr>
          </a:lstStyle>
          <a:p>
            <a:pPr lvl="0"/>
            <a:endParaRPr lang="de-DE"/>
          </a:p>
        </p:txBody>
      </p:sp>
      <p:sp>
        <p:nvSpPr>
          <p:cNvPr id="16" name="Textplatzhalter 19">
            <a:extLst>
              <a:ext uri="{FF2B5EF4-FFF2-40B4-BE49-F238E27FC236}">
                <a16:creationId xmlns:a16="http://schemas.microsoft.com/office/drawing/2014/main" id="{8B039E53-EBD2-DDC8-77D2-9F30205DA0EE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4481283" y="1530910"/>
            <a:ext cx="3103942" cy="1950990"/>
          </a:xfrm>
        </p:spPr>
        <p:txBody>
          <a:bodyPr wrap="square">
            <a:noAutofit/>
          </a:bodyPr>
          <a:lstStyle>
            <a:lvl1pPr marL="171450" indent="-17145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Wingdings" pitchFamily="2" charset="2"/>
              <a:buChar char="§"/>
              <a:defRPr sz="10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/>
              <a:t>Fokus hinzufügen</a:t>
            </a:r>
          </a:p>
        </p:txBody>
      </p:sp>
      <p:sp>
        <p:nvSpPr>
          <p:cNvPr id="19" name="Textplatzhalter 19">
            <a:extLst>
              <a:ext uri="{FF2B5EF4-FFF2-40B4-BE49-F238E27FC236}">
                <a16:creationId xmlns:a16="http://schemas.microsoft.com/office/drawing/2014/main" id="{B1C17E6A-E11C-8079-68F6-B4DF9F6DDB8B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7798631" y="1530910"/>
            <a:ext cx="3914095" cy="1950990"/>
          </a:xfrm>
        </p:spPr>
        <p:txBody>
          <a:bodyPr wrap="square">
            <a:noAutofit/>
          </a:bodyPr>
          <a:lstStyle>
            <a:lvl1pPr marL="171450" indent="-17145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Wingdings" pitchFamily="2" charset="2"/>
              <a:buChar char="§"/>
              <a:defRPr sz="10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/>
              <a:t>Ausbildung &amp; berufliche Erfahrung hinzufügen</a:t>
            </a:r>
          </a:p>
          <a:p>
            <a:pPr lvl="0"/>
            <a:endParaRPr lang="de-DE"/>
          </a:p>
        </p:txBody>
      </p:sp>
      <p:sp>
        <p:nvSpPr>
          <p:cNvPr id="17" name="Bildplatzhalter 16">
            <a:extLst>
              <a:ext uri="{FF2B5EF4-FFF2-40B4-BE49-F238E27FC236}">
                <a16:creationId xmlns:a16="http://schemas.microsoft.com/office/drawing/2014/main" id="{0D06A65E-A682-7931-B964-F473B1F7FB70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667137" y="1224256"/>
            <a:ext cx="3598863" cy="2249487"/>
          </a:xfrm>
        </p:spPr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0551788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0x Content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C40E9F1B-B387-DA38-62A6-B2423B8108F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8800" y="396000"/>
            <a:ext cx="9511200" cy="216000"/>
          </a:xfrm>
          <a:prstGeom prst="rect">
            <a:avLst/>
          </a:prstGeom>
          <a:solidFill>
            <a:schemeClr val="tx1"/>
          </a:solidFill>
        </p:spPr>
        <p:txBody>
          <a:bodyPr anchor="b" anchorCtr="0"/>
          <a:lstStyle>
            <a:lvl1pPr>
              <a:defRPr sz="1400" b="1" i="0" cap="all" baseline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/>
              <a:t>FOLIENTITEL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3EA6945-62CE-8B8B-5CE8-1BC62F3483A4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2AA97715-E243-44FB-A4DF-8B24568E8B84}" type="datetime1">
              <a:rPr lang="de-DE" smtClean="0"/>
              <a:pPr/>
              <a:t>03.06.25</a:t>
            </a:fld>
            <a:endParaRPr lang="en-DE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AE26D5F3-09AA-6FDF-E475-88C87D3A95B4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Senacor Technologies AG</a:t>
            </a:r>
            <a:endParaRPr lang="en-DE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38B9019E-98A3-952D-98FB-6EC15B672F0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E63DBB63-5C76-DA40-949C-F00FB53C9B50}" type="slidenum">
              <a:rPr lang="en-DE" smtClean="0"/>
              <a:pPr/>
              <a:t>‹#›</a:t>
            </a:fld>
            <a:endParaRPr lang="en-DE"/>
          </a:p>
        </p:txBody>
      </p:sp>
      <p:grpSp>
        <p:nvGrpSpPr>
          <p:cNvPr id="6" name="Gruppieren 5">
            <a:extLst>
              <a:ext uri="{FF2B5EF4-FFF2-40B4-BE49-F238E27FC236}">
                <a16:creationId xmlns:a16="http://schemas.microsoft.com/office/drawing/2014/main" id="{519E478D-967E-C41A-F9B9-AA54FF94C200}"/>
              </a:ext>
            </a:extLst>
          </p:cNvPr>
          <p:cNvGrpSpPr/>
          <p:nvPr userDrawn="1"/>
        </p:nvGrpSpPr>
        <p:grpSpPr>
          <a:xfrm>
            <a:off x="10241984" y="367378"/>
            <a:ext cx="1470743" cy="209663"/>
            <a:chOff x="10240056" y="330434"/>
            <a:chExt cx="1472671" cy="212964"/>
          </a:xfrm>
          <a:solidFill>
            <a:srgbClr val="000000"/>
          </a:solidFill>
        </p:grpSpPr>
        <p:sp>
          <p:nvSpPr>
            <p:cNvPr id="10" name="Freihandform: Form 7">
              <a:extLst>
                <a:ext uri="{FF2B5EF4-FFF2-40B4-BE49-F238E27FC236}">
                  <a16:creationId xmlns:a16="http://schemas.microsoft.com/office/drawing/2014/main" id="{3B5E64EF-4856-48DB-C089-19783BF88BD4}"/>
                </a:ext>
              </a:extLst>
            </p:cNvPr>
            <p:cNvSpPr/>
            <p:nvPr/>
          </p:nvSpPr>
          <p:spPr>
            <a:xfrm>
              <a:off x="10602134" y="335724"/>
              <a:ext cx="213948" cy="204724"/>
            </a:xfrm>
            <a:custGeom>
              <a:avLst/>
              <a:gdLst>
                <a:gd name="connsiteX0" fmla="*/ 160491 w 213948"/>
                <a:gd name="connsiteY0" fmla="*/ 14175 h 204724"/>
                <a:gd name="connsiteX1" fmla="*/ 163136 w 213948"/>
                <a:gd name="connsiteY1" fmla="*/ 14327 h 204724"/>
                <a:gd name="connsiteX2" fmla="*/ 176854 w 213948"/>
                <a:gd name="connsiteY2" fmla="*/ 36064 h 204724"/>
                <a:gd name="connsiteX3" fmla="*/ 176854 w 213948"/>
                <a:gd name="connsiteY3" fmla="*/ 144712 h 204724"/>
                <a:gd name="connsiteX4" fmla="*/ 49408 w 213948"/>
                <a:gd name="connsiteY4" fmla="*/ 0 h 204724"/>
                <a:gd name="connsiteX5" fmla="*/ 4834 w 213948"/>
                <a:gd name="connsiteY5" fmla="*/ 0 h 204724"/>
                <a:gd name="connsiteX6" fmla="*/ 4834 w 213948"/>
                <a:gd name="connsiteY6" fmla="*/ 13894 h 204724"/>
                <a:gd name="connsiteX7" fmla="*/ 7292 w 213948"/>
                <a:gd name="connsiteY7" fmla="*/ 14140 h 204724"/>
                <a:gd name="connsiteX8" fmla="*/ 16727 w 213948"/>
                <a:gd name="connsiteY8" fmla="*/ 21163 h 204724"/>
                <a:gd name="connsiteX9" fmla="*/ 16727 w 213948"/>
                <a:gd name="connsiteY9" fmla="*/ 164821 h 204724"/>
                <a:gd name="connsiteX10" fmla="*/ 2681 w 213948"/>
                <a:gd name="connsiteY10" fmla="*/ 188372 h 204724"/>
                <a:gd name="connsiteX11" fmla="*/ 0 w 213948"/>
                <a:gd name="connsiteY11" fmla="*/ 188513 h 204724"/>
                <a:gd name="connsiteX12" fmla="*/ 0 w 213948"/>
                <a:gd name="connsiteY12" fmla="*/ 202559 h 204724"/>
                <a:gd name="connsiteX13" fmla="*/ 54523 w 213948"/>
                <a:gd name="connsiteY13" fmla="*/ 202559 h 204724"/>
                <a:gd name="connsiteX14" fmla="*/ 54523 w 213948"/>
                <a:gd name="connsiteY14" fmla="*/ 188665 h 204724"/>
                <a:gd name="connsiteX15" fmla="*/ 51936 w 213948"/>
                <a:gd name="connsiteY15" fmla="*/ 188466 h 204724"/>
                <a:gd name="connsiteX16" fmla="*/ 38580 w 213948"/>
                <a:gd name="connsiteY16" fmla="*/ 162457 h 204724"/>
                <a:gd name="connsiteX17" fmla="*/ 38580 w 213948"/>
                <a:gd name="connsiteY17" fmla="*/ 46048 h 204724"/>
                <a:gd name="connsiteX18" fmla="*/ 177873 w 213948"/>
                <a:gd name="connsiteY18" fmla="*/ 203776 h 204724"/>
                <a:gd name="connsiteX19" fmla="*/ 178716 w 213948"/>
                <a:gd name="connsiteY19" fmla="*/ 204724 h 204724"/>
                <a:gd name="connsiteX20" fmla="*/ 198708 w 213948"/>
                <a:gd name="connsiteY20" fmla="*/ 204724 h 204724"/>
                <a:gd name="connsiteX21" fmla="*/ 198708 w 213948"/>
                <a:gd name="connsiteY21" fmla="*/ 39271 h 204724"/>
                <a:gd name="connsiteX22" fmla="*/ 211373 w 213948"/>
                <a:gd name="connsiteY22" fmla="*/ 14421 h 204724"/>
                <a:gd name="connsiteX23" fmla="*/ 213948 w 213948"/>
                <a:gd name="connsiteY23" fmla="*/ 14198 h 204724"/>
                <a:gd name="connsiteX24" fmla="*/ 213948 w 213948"/>
                <a:gd name="connsiteY24" fmla="*/ 0 h 204724"/>
                <a:gd name="connsiteX25" fmla="*/ 160491 w 213948"/>
                <a:gd name="connsiteY25" fmla="*/ 0 h 2047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213948" h="204724">
                  <a:moveTo>
                    <a:pt x="160491" y="14175"/>
                  </a:moveTo>
                  <a:lnTo>
                    <a:pt x="163136" y="14327"/>
                  </a:lnTo>
                  <a:cubicBezTo>
                    <a:pt x="176878" y="15111"/>
                    <a:pt x="176878" y="17909"/>
                    <a:pt x="176854" y="36064"/>
                  </a:cubicBezTo>
                  <a:lnTo>
                    <a:pt x="176854" y="144712"/>
                  </a:lnTo>
                  <a:lnTo>
                    <a:pt x="49408" y="0"/>
                  </a:lnTo>
                  <a:lnTo>
                    <a:pt x="4834" y="0"/>
                  </a:lnTo>
                  <a:lnTo>
                    <a:pt x="4834" y="13894"/>
                  </a:lnTo>
                  <a:lnTo>
                    <a:pt x="7292" y="14140"/>
                  </a:lnTo>
                  <a:cubicBezTo>
                    <a:pt x="14655" y="14643"/>
                    <a:pt x="16586" y="17101"/>
                    <a:pt x="16727" y="21163"/>
                  </a:cubicBezTo>
                  <a:lnTo>
                    <a:pt x="16727" y="164821"/>
                  </a:lnTo>
                  <a:cubicBezTo>
                    <a:pt x="16727" y="182882"/>
                    <a:pt x="16727" y="187728"/>
                    <a:pt x="2681" y="188372"/>
                  </a:cubicBezTo>
                  <a:lnTo>
                    <a:pt x="0" y="188513"/>
                  </a:lnTo>
                  <a:lnTo>
                    <a:pt x="0" y="202559"/>
                  </a:lnTo>
                  <a:lnTo>
                    <a:pt x="54523" y="202559"/>
                  </a:lnTo>
                  <a:lnTo>
                    <a:pt x="54523" y="188665"/>
                  </a:lnTo>
                  <a:lnTo>
                    <a:pt x="51936" y="188466"/>
                  </a:lnTo>
                  <a:cubicBezTo>
                    <a:pt x="38557" y="187424"/>
                    <a:pt x="38569" y="182145"/>
                    <a:pt x="38580" y="162457"/>
                  </a:cubicBezTo>
                  <a:lnTo>
                    <a:pt x="38580" y="46048"/>
                  </a:lnTo>
                  <a:lnTo>
                    <a:pt x="177873" y="203776"/>
                  </a:lnTo>
                  <a:lnTo>
                    <a:pt x="178716" y="204724"/>
                  </a:lnTo>
                  <a:lnTo>
                    <a:pt x="198708" y="204724"/>
                  </a:lnTo>
                  <a:lnTo>
                    <a:pt x="198708" y="39271"/>
                  </a:lnTo>
                  <a:cubicBezTo>
                    <a:pt x="198708" y="19080"/>
                    <a:pt x="199797" y="15521"/>
                    <a:pt x="211373" y="14421"/>
                  </a:cubicBezTo>
                  <a:lnTo>
                    <a:pt x="213948" y="14198"/>
                  </a:lnTo>
                  <a:lnTo>
                    <a:pt x="213948" y="0"/>
                  </a:lnTo>
                  <a:lnTo>
                    <a:pt x="160491" y="0"/>
                  </a:ln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endParaRPr>
            </a:p>
          </p:txBody>
        </p:sp>
        <p:sp>
          <p:nvSpPr>
            <p:cNvPr id="11" name="Freihandform: Form 8">
              <a:extLst>
                <a:ext uri="{FF2B5EF4-FFF2-40B4-BE49-F238E27FC236}">
                  <a16:creationId xmlns:a16="http://schemas.microsoft.com/office/drawing/2014/main" id="{E4C3C544-9CB1-DDAA-40F6-D602D0270BD0}"/>
                </a:ext>
              </a:extLst>
            </p:cNvPr>
            <p:cNvSpPr/>
            <p:nvPr/>
          </p:nvSpPr>
          <p:spPr>
            <a:xfrm>
              <a:off x="10240056" y="330434"/>
              <a:ext cx="150166" cy="212964"/>
            </a:xfrm>
            <a:custGeom>
              <a:avLst/>
              <a:gdLst>
                <a:gd name="connsiteX0" fmla="*/ 87918 w 150166"/>
                <a:gd name="connsiteY0" fmla="*/ 86267 h 212964"/>
                <a:gd name="connsiteX1" fmla="*/ 87918 w 150166"/>
                <a:gd name="connsiteY1" fmla="*/ 86267 h 212964"/>
                <a:gd name="connsiteX2" fmla="*/ 43309 w 150166"/>
                <a:gd name="connsiteY2" fmla="*/ 46282 h 212964"/>
                <a:gd name="connsiteX3" fmla="*/ 73427 w 150166"/>
                <a:gd name="connsiteY3" fmla="*/ 17078 h 212964"/>
                <a:gd name="connsiteX4" fmla="*/ 120248 w 150166"/>
                <a:gd name="connsiteY4" fmla="*/ 39739 h 212964"/>
                <a:gd name="connsiteX5" fmla="*/ 121032 w 150166"/>
                <a:gd name="connsiteY5" fmla="*/ 41331 h 212964"/>
                <a:gd name="connsiteX6" fmla="*/ 136109 w 150166"/>
                <a:gd name="connsiteY6" fmla="*/ 41167 h 212964"/>
                <a:gd name="connsiteX7" fmla="*/ 129589 w 150166"/>
                <a:gd name="connsiteY7" fmla="*/ 3078 h 212964"/>
                <a:gd name="connsiteX8" fmla="*/ 120026 w 150166"/>
                <a:gd name="connsiteY8" fmla="*/ 3078 h 212964"/>
                <a:gd name="connsiteX9" fmla="*/ 118551 w 150166"/>
                <a:gd name="connsiteY9" fmla="*/ 3746 h 212964"/>
                <a:gd name="connsiteX10" fmla="*/ 110977 w 150166"/>
                <a:gd name="connsiteY10" fmla="*/ 5384 h 212964"/>
                <a:gd name="connsiteX11" fmla="*/ 101438 w 150166"/>
                <a:gd name="connsiteY11" fmla="*/ 3804 h 212964"/>
                <a:gd name="connsiteX12" fmla="*/ 95807 w 150166"/>
                <a:gd name="connsiteY12" fmla="*/ 2634 h 212964"/>
                <a:gd name="connsiteX13" fmla="*/ 69412 w 150166"/>
                <a:gd name="connsiteY13" fmla="*/ 0 h 212964"/>
                <a:gd name="connsiteX14" fmla="*/ 5103 w 150166"/>
                <a:gd name="connsiteY14" fmla="*/ 55096 h 212964"/>
                <a:gd name="connsiteX15" fmla="*/ 63817 w 150166"/>
                <a:gd name="connsiteY15" fmla="*/ 117415 h 212964"/>
                <a:gd name="connsiteX16" fmla="*/ 110966 w 150166"/>
                <a:gd name="connsiteY16" fmla="*/ 162094 h 212964"/>
                <a:gd name="connsiteX17" fmla="*/ 72093 w 150166"/>
                <a:gd name="connsiteY17" fmla="*/ 193944 h 212964"/>
                <a:gd name="connsiteX18" fmla="*/ 15030 w 150166"/>
                <a:gd name="connsiteY18" fmla="*/ 167174 h 212964"/>
                <a:gd name="connsiteX19" fmla="*/ 14327 w 150166"/>
                <a:gd name="connsiteY19" fmla="*/ 165418 h 212964"/>
                <a:gd name="connsiteX20" fmla="*/ 0 w 150166"/>
                <a:gd name="connsiteY20" fmla="*/ 165418 h 212964"/>
                <a:gd name="connsiteX21" fmla="*/ 6368 w 150166"/>
                <a:gd name="connsiteY21" fmla="*/ 208283 h 212964"/>
                <a:gd name="connsiteX22" fmla="*/ 17932 w 150166"/>
                <a:gd name="connsiteY22" fmla="*/ 208283 h 212964"/>
                <a:gd name="connsiteX23" fmla="*/ 18740 w 150166"/>
                <a:gd name="connsiteY23" fmla="*/ 207510 h 212964"/>
                <a:gd name="connsiteX24" fmla="*/ 25997 w 150166"/>
                <a:gd name="connsiteY24" fmla="*/ 205895 h 212964"/>
                <a:gd name="connsiteX25" fmla="*/ 38393 w 150166"/>
                <a:gd name="connsiteY25" fmla="*/ 208107 h 212964"/>
                <a:gd name="connsiteX26" fmla="*/ 74445 w 150166"/>
                <a:gd name="connsiteY26" fmla="*/ 212965 h 212964"/>
                <a:gd name="connsiteX27" fmla="*/ 150167 w 150166"/>
                <a:gd name="connsiteY27" fmla="*/ 152648 h 212964"/>
                <a:gd name="connsiteX28" fmla="*/ 87930 w 150166"/>
                <a:gd name="connsiteY28" fmla="*/ 86267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150166" h="212964">
                  <a:moveTo>
                    <a:pt x="87918" y="86267"/>
                  </a:moveTo>
                  <a:lnTo>
                    <a:pt x="87918" y="86267"/>
                  </a:lnTo>
                  <a:cubicBezTo>
                    <a:pt x="64976" y="74750"/>
                    <a:pt x="43309" y="63864"/>
                    <a:pt x="43309" y="46282"/>
                  </a:cubicBezTo>
                  <a:cubicBezTo>
                    <a:pt x="43309" y="34507"/>
                    <a:pt x="52884" y="17078"/>
                    <a:pt x="73427" y="17078"/>
                  </a:cubicBezTo>
                  <a:cubicBezTo>
                    <a:pt x="97142" y="17078"/>
                    <a:pt x="111305" y="23574"/>
                    <a:pt x="120248" y="39739"/>
                  </a:cubicBezTo>
                  <a:lnTo>
                    <a:pt x="121032" y="41331"/>
                  </a:lnTo>
                  <a:lnTo>
                    <a:pt x="136109" y="41167"/>
                  </a:lnTo>
                  <a:lnTo>
                    <a:pt x="129589" y="3078"/>
                  </a:lnTo>
                  <a:lnTo>
                    <a:pt x="120026" y="3078"/>
                  </a:lnTo>
                  <a:lnTo>
                    <a:pt x="118551" y="3746"/>
                  </a:lnTo>
                  <a:cubicBezTo>
                    <a:pt x="116205" y="4922"/>
                    <a:pt x="113600" y="5486"/>
                    <a:pt x="110977" y="5384"/>
                  </a:cubicBezTo>
                  <a:cubicBezTo>
                    <a:pt x="106998" y="5232"/>
                    <a:pt x="105242" y="4577"/>
                    <a:pt x="101438" y="3804"/>
                  </a:cubicBezTo>
                  <a:cubicBezTo>
                    <a:pt x="99822" y="3465"/>
                    <a:pt x="98031" y="3008"/>
                    <a:pt x="95807" y="2634"/>
                  </a:cubicBezTo>
                  <a:cubicBezTo>
                    <a:pt x="87117" y="890"/>
                    <a:pt x="78276" y="8"/>
                    <a:pt x="69412" y="0"/>
                  </a:cubicBezTo>
                  <a:cubicBezTo>
                    <a:pt x="33945" y="0"/>
                    <a:pt x="5103" y="24710"/>
                    <a:pt x="5103" y="55096"/>
                  </a:cubicBezTo>
                  <a:cubicBezTo>
                    <a:pt x="5103" y="85846"/>
                    <a:pt x="34952" y="101917"/>
                    <a:pt x="63817" y="117415"/>
                  </a:cubicBezTo>
                  <a:cubicBezTo>
                    <a:pt x="88059" y="130455"/>
                    <a:pt x="110966" y="142804"/>
                    <a:pt x="110966" y="162094"/>
                  </a:cubicBezTo>
                  <a:cubicBezTo>
                    <a:pt x="110966" y="180249"/>
                    <a:pt x="94251" y="193944"/>
                    <a:pt x="72093" y="193944"/>
                  </a:cubicBezTo>
                  <a:cubicBezTo>
                    <a:pt x="41799" y="193944"/>
                    <a:pt x="23130" y="185177"/>
                    <a:pt x="15030" y="167174"/>
                  </a:cubicBezTo>
                  <a:lnTo>
                    <a:pt x="14327" y="165418"/>
                  </a:lnTo>
                  <a:lnTo>
                    <a:pt x="0" y="165418"/>
                  </a:lnTo>
                  <a:lnTo>
                    <a:pt x="6368" y="208283"/>
                  </a:lnTo>
                  <a:lnTo>
                    <a:pt x="17932" y="208283"/>
                  </a:lnTo>
                  <a:lnTo>
                    <a:pt x="18740" y="207510"/>
                  </a:lnTo>
                  <a:cubicBezTo>
                    <a:pt x="20461" y="205965"/>
                    <a:pt x="22603" y="205860"/>
                    <a:pt x="25997" y="205895"/>
                  </a:cubicBezTo>
                  <a:cubicBezTo>
                    <a:pt x="29392" y="205930"/>
                    <a:pt x="33313" y="206878"/>
                    <a:pt x="38393" y="208107"/>
                  </a:cubicBezTo>
                  <a:cubicBezTo>
                    <a:pt x="50154" y="211257"/>
                    <a:pt x="62270" y="212889"/>
                    <a:pt x="74445" y="212965"/>
                  </a:cubicBezTo>
                  <a:cubicBezTo>
                    <a:pt x="118328" y="212965"/>
                    <a:pt x="150167" y="187600"/>
                    <a:pt x="150167" y="152648"/>
                  </a:cubicBezTo>
                  <a:cubicBezTo>
                    <a:pt x="150167" y="117696"/>
                    <a:pt x="117052" y="100922"/>
                    <a:pt x="87930" y="86267"/>
                  </a:cubicBezTo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endParaRPr>
            </a:p>
          </p:txBody>
        </p:sp>
        <p:sp>
          <p:nvSpPr>
            <p:cNvPr id="12" name="Freihandform: Form 9">
              <a:extLst>
                <a:ext uri="{FF2B5EF4-FFF2-40B4-BE49-F238E27FC236}">
                  <a16:creationId xmlns:a16="http://schemas.microsoft.com/office/drawing/2014/main" id="{F1901E2B-CC59-BA9B-D1C9-8B578A9547AE}"/>
                </a:ext>
              </a:extLst>
            </p:cNvPr>
            <p:cNvSpPr/>
            <p:nvPr/>
          </p:nvSpPr>
          <p:spPr>
            <a:xfrm>
              <a:off x="10421346" y="335748"/>
              <a:ext cx="149780" cy="202570"/>
            </a:xfrm>
            <a:custGeom>
              <a:avLst/>
              <a:gdLst>
                <a:gd name="connsiteX0" fmla="*/ 10184 w 149780"/>
                <a:gd name="connsiteY0" fmla="*/ 176725 h 202570"/>
                <a:gd name="connsiteX1" fmla="*/ 2540 w 149780"/>
                <a:gd name="connsiteY1" fmla="*/ 187986 h 202570"/>
                <a:gd name="connsiteX2" fmla="*/ 0 w 149780"/>
                <a:gd name="connsiteY2" fmla="*/ 188232 h 202570"/>
                <a:gd name="connsiteX3" fmla="*/ 0 w 149780"/>
                <a:gd name="connsiteY3" fmla="*/ 202571 h 202570"/>
                <a:gd name="connsiteX4" fmla="*/ 144864 w 149780"/>
                <a:gd name="connsiteY4" fmla="*/ 202571 h 202570"/>
                <a:gd name="connsiteX5" fmla="*/ 149780 w 149780"/>
                <a:gd name="connsiteY5" fmla="*/ 162059 h 202570"/>
                <a:gd name="connsiteX6" fmla="*/ 134563 w 149780"/>
                <a:gd name="connsiteY6" fmla="*/ 162176 h 202570"/>
                <a:gd name="connsiteX7" fmla="*/ 133943 w 149780"/>
                <a:gd name="connsiteY7" fmla="*/ 164107 h 202570"/>
                <a:gd name="connsiteX8" fmla="*/ 101379 w 149780"/>
                <a:gd name="connsiteY8" fmla="*/ 182754 h 202570"/>
                <a:gd name="connsiteX9" fmla="*/ 64192 w 149780"/>
                <a:gd name="connsiteY9" fmla="*/ 182754 h 202570"/>
                <a:gd name="connsiteX10" fmla="*/ 49244 w 149780"/>
                <a:gd name="connsiteY10" fmla="*/ 162749 h 202570"/>
                <a:gd name="connsiteX11" fmla="*/ 49244 w 149780"/>
                <a:gd name="connsiteY11" fmla="*/ 107875 h 202570"/>
                <a:gd name="connsiteX12" fmla="*/ 89042 w 149780"/>
                <a:gd name="connsiteY12" fmla="*/ 107875 h 202570"/>
                <a:gd name="connsiteX13" fmla="*/ 107630 w 149780"/>
                <a:gd name="connsiteY13" fmla="*/ 118878 h 202570"/>
                <a:gd name="connsiteX14" fmla="*/ 108051 w 149780"/>
                <a:gd name="connsiteY14" fmla="*/ 121219 h 202570"/>
                <a:gd name="connsiteX15" fmla="*/ 122542 w 149780"/>
                <a:gd name="connsiteY15" fmla="*/ 121219 h 202570"/>
                <a:gd name="connsiteX16" fmla="*/ 122542 w 149780"/>
                <a:gd name="connsiteY16" fmla="*/ 75569 h 202570"/>
                <a:gd name="connsiteX17" fmla="*/ 108285 w 149780"/>
                <a:gd name="connsiteY17" fmla="*/ 75569 h 202570"/>
                <a:gd name="connsiteX18" fmla="*/ 107934 w 149780"/>
                <a:gd name="connsiteY18" fmla="*/ 77910 h 202570"/>
                <a:gd name="connsiteX19" fmla="*/ 89042 w 149780"/>
                <a:gd name="connsiteY19" fmla="*/ 88105 h 202570"/>
                <a:gd name="connsiteX20" fmla="*/ 49244 w 149780"/>
                <a:gd name="connsiteY20" fmla="*/ 88105 h 202570"/>
                <a:gd name="connsiteX21" fmla="*/ 49244 w 149780"/>
                <a:gd name="connsiteY21" fmla="*/ 19829 h 202570"/>
                <a:gd name="connsiteX22" fmla="*/ 102550 w 149780"/>
                <a:gd name="connsiteY22" fmla="*/ 19829 h 202570"/>
                <a:gd name="connsiteX23" fmla="*/ 124310 w 149780"/>
                <a:gd name="connsiteY23" fmla="*/ 34226 h 202570"/>
                <a:gd name="connsiteX24" fmla="*/ 124883 w 149780"/>
                <a:gd name="connsiteY24" fmla="*/ 36286 h 202570"/>
                <a:gd name="connsiteX25" fmla="*/ 140100 w 149780"/>
                <a:gd name="connsiteY25" fmla="*/ 36286 h 202570"/>
                <a:gd name="connsiteX26" fmla="*/ 137595 w 149780"/>
                <a:gd name="connsiteY26" fmla="*/ 0 h 202570"/>
                <a:gd name="connsiteX27" fmla="*/ 222 w 149780"/>
                <a:gd name="connsiteY27" fmla="*/ 0 h 202570"/>
                <a:gd name="connsiteX28" fmla="*/ 222 w 149780"/>
                <a:gd name="connsiteY28" fmla="*/ 14198 h 202570"/>
                <a:gd name="connsiteX29" fmla="*/ 2798 w 149780"/>
                <a:gd name="connsiteY29" fmla="*/ 14374 h 202570"/>
                <a:gd name="connsiteX30" fmla="*/ 10207 w 149780"/>
                <a:gd name="connsiteY30" fmla="*/ 32412 h 2025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149780" h="202570">
                  <a:moveTo>
                    <a:pt x="10184" y="176725"/>
                  </a:moveTo>
                  <a:cubicBezTo>
                    <a:pt x="9973" y="184626"/>
                    <a:pt x="9774" y="187260"/>
                    <a:pt x="2540" y="187986"/>
                  </a:cubicBezTo>
                  <a:lnTo>
                    <a:pt x="0" y="188232"/>
                  </a:lnTo>
                  <a:lnTo>
                    <a:pt x="0" y="202571"/>
                  </a:lnTo>
                  <a:lnTo>
                    <a:pt x="144864" y="202571"/>
                  </a:lnTo>
                  <a:lnTo>
                    <a:pt x="149780" y="162059"/>
                  </a:lnTo>
                  <a:lnTo>
                    <a:pt x="134563" y="162176"/>
                  </a:lnTo>
                  <a:lnTo>
                    <a:pt x="133943" y="164107"/>
                  </a:lnTo>
                  <a:cubicBezTo>
                    <a:pt x="127927" y="182964"/>
                    <a:pt x="121734" y="182906"/>
                    <a:pt x="101379" y="182754"/>
                  </a:cubicBezTo>
                  <a:lnTo>
                    <a:pt x="64192" y="182754"/>
                  </a:lnTo>
                  <a:cubicBezTo>
                    <a:pt x="49654" y="182754"/>
                    <a:pt x="49244" y="179909"/>
                    <a:pt x="49244" y="162749"/>
                  </a:cubicBezTo>
                  <a:lnTo>
                    <a:pt x="49244" y="107875"/>
                  </a:lnTo>
                  <a:lnTo>
                    <a:pt x="89042" y="107875"/>
                  </a:lnTo>
                  <a:cubicBezTo>
                    <a:pt x="102292" y="107875"/>
                    <a:pt x="105066" y="108168"/>
                    <a:pt x="107630" y="118878"/>
                  </a:cubicBezTo>
                  <a:lnTo>
                    <a:pt x="108051" y="121219"/>
                  </a:lnTo>
                  <a:lnTo>
                    <a:pt x="122542" y="121219"/>
                  </a:lnTo>
                  <a:lnTo>
                    <a:pt x="122542" y="75569"/>
                  </a:lnTo>
                  <a:lnTo>
                    <a:pt x="108285" y="75569"/>
                  </a:lnTo>
                  <a:lnTo>
                    <a:pt x="107934" y="77910"/>
                  </a:lnTo>
                  <a:cubicBezTo>
                    <a:pt x="106248" y="87368"/>
                    <a:pt x="103158" y="88105"/>
                    <a:pt x="89042" y="88105"/>
                  </a:cubicBezTo>
                  <a:lnTo>
                    <a:pt x="49244" y="88105"/>
                  </a:lnTo>
                  <a:lnTo>
                    <a:pt x="49244" y="19829"/>
                  </a:lnTo>
                  <a:lnTo>
                    <a:pt x="102550" y="19829"/>
                  </a:lnTo>
                  <a:cubicBezTo>
                    <a:pt x="116233" y="19829"/>
                    <a:pt x="120716" y="19829"/>
                    <a:pt x="124310" y="34226"/>
                  </a:cubicBezTo>
                  <a:lnTo>
                    <a:pt x="124883" y="36286"/>
                  </a:lnTo>
                  <a:lnTo>
                    <a:pt x="140100" y="36286"/>
                  </a:lnTo>
                  <a:lnTo>
                    <a:pt x="137595" y="0"/>
                  </a:lnTo>
                  <a:lnTo>
                    <a:pt x="222" y="0"/>
                  </a:lnTo>
                  <a:lnTo>
                    <a:pt x="222" y="14198"/>
                  </a:lnTo>
                  <a:lnTo>
                    <a:pt x="2798" y="14374"/>
                  </a:lnTo>
                  <a:cubicBezTo>
                    <a:pt x="10102" y="15252"/>
                    <a:pt x="10113" y="17886"/>
                    <a:pt x="10207" y="32412"/>
                  </a:cubicBez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endParaRPr>
            </a:p>
          </p:txBody>
        </p:sp>
        <p:sp>
          <p:nvSpPr>
            <p:cNvPr id="13" name="Freihandform: Form 10">
              <a:extLst>
                <a:ext uri="{FF2B5EF4-FFF2-40B4-BE49-F238E27FC236}">
                  <a16:creationId xmlns:a16="http://schemas.microsoft.com/office/drawing/2014/main" id="{E7055619-D590-3996-EEB3-E3B0AD77EFE6}"/>
                </a:ext>
              </a:extLst>
            </p:cNvPr>
            <p:cNvSpPr/>
            <p:nvPr/>
          </p:nvSpPr>
          <p:spPr>
            <a:xfrm>
              <a:off x="11496262" y="332657"/>
              <a:ext cx="216465" cy="208540"/>
            </a:xfrm>
            <a:custGeom>
              <a:avLst/>
              <a:gdLst>
                <a:gd name="connsiteX0" fmla="*/ 145742 w 216465"/>
                <a:gd name="connsiteY0" fmla="*/ 131087 h 208540"/>
                <a:gd name="connsiteX1" fmla="*/ 125609 w 216465"/>
                <a:gd name="connsiteY1" fmla="*/ 111902 h 208540"/>
                <a:gd name="connsiteX2" fmla="*/ 162609 w 216465"/>
                <a:gd name="connsiteY2" fmla="*/ 59556 h 208540"/>
                <a:gd name="connsiteX3" fmla="*/ 74738 w 216465"/>
                <a:gd name="connsiteY3" fmla="*/ 0 h 208540"/>
                <a:gd name="connsiteX4" fmla="*/ 36321 w 216465"/>
                <a:gd name="connsiteY4" fmla="*/ 632 h 208540"/>
                <a:gd name="connsiteX5" fmla="*/ 15147 w 216465"/>
                <a:gd name="connsiteY5" fmla="*/ 1662 h 208540"/>
                <a:gd name="connsiteX6" fmla="*/ 6450 w 216465"/>
                <a:gd name="connsiteY6" fmla="*/ 2247 h 208540"/>
                <a:gd name="connsiteX7" fmla="*/ 6450 w 216465"/>
                <a:gd name="connsiteY7" fmla="*/ 16586 h 208540"/>
                <a:gd name="connsiteX8" fmla="*/ 8978 w 216465"/>
                <a:gd name="connsiteY8" fmla="*/ 16703 h 208540"/>
                <a:gd name="connsiteX9" fmla="*/ 17698 w 216465"/>
                <a:gd name="connsiteY9" fmla="*/ 25061 h 208540"/>
                <a:gd name="connsiteX10" fmla="*/ 17581 w 216465"/>
                <a:gd name="connsiteY10" fmla="*/ 173413 h 208540"/>
                <a:gd name="connsiteX11" fmla="*/ 2669 w 216465"/>
                <a:gd name="connsiteY11" fmla="*/ 191486 h 208540"/>
                <a:gd name="connsiteX12" fmla="*/ 0 w 216465"/>
                <a:gd name="connsiteY12" fmla="*/ 191626 h 208540"/>
                <a:gd name="connsiteX13" fmla="*/ 0 w 216465"/>
                <a:gd name="connsiteY13" fmla="*/ 205672 h 208540"/>
                <a:gd name="connsiteX14" fmla="*/ 76435 w 216465"/>
                <a:gd name="connsiteY14" fmla="*/ 205672 h 208540"/>
                <a:gd name="connsiteX15" fmla="*/ 76435 w 216465"/>
                <a:gd name="connsiteY15" fmla="*/ 191544 h 208540"/>
                <a:gd name="connsiteX16" fmla="*/ 73790 w 216465"/>
                <a:gd name="connsiteY16" fmla="*/ 191544 h 208540"/>
                <a:gd name="connsiteX17" fmla="*/ 58374 w 216465"/>
                <a:gd name="connsiteY17" fmla="*/ 164353 h 208540"/>
                <a:gd name="connsiteX18" fmla="*/ 58374 w 216465"/>
                <a:gd name="connsiteY18" fmla="*/ 124192 h 208540"/>
                <a:gd name="connsiteX19" fmla="*/ 82651 w 216465"/>
                <a:gd name="connsiteY19" fmla="*/ 123982 h 208540"/>
                <a:gd name="connsiteX20" fmla="*/ 115425 w 216465"/>
                <a:gd name="connsiteY20" fmla="*/ 153526 h 208540"/>
                <a:gd name="connsiteX21" fmla="*/ 132035 w 216465"/>
                <a:gd name="connsiteY21" fmla="*/ 170276 h 208540"/>
                <a:gd name="connsiteX22" fmla="*/ 141926 w 216465"/>
                <a:gd name="connsiteY22" fmla="*/ 180612 h 208540"/>
                <a:gd name="connsiteX23" fmla="*/ 148797 w 216465"/>
                <a:gd name="connsiteY23" fmla="*/ 188232 h 208540"/>
                <a:gd name="connsiteX24" fmla="*/ 201798 w 216465"/>
                <a:gd name="connsiteY24" fmla="*/ 208540 h 208540"/>
                <a:gd name="connsiteX25" fmla="*/ 213281 w 216465"/>
                <a:gd name="connsiteY25" fmla="*/ 208376 h 208540"/>
                <a:gd name="connsiteX26" fmla="*/ 216465 w 216465"/>
                <a:gd name="connsiteY26" fmla="*/ 208306 h 208540"/>
                <a:gd name="connsiteX27" fmla="*/ 216465 w 216465"/>
                <a:gd name="connsiteY27" fmla="*/ 194201 h 208540"/>
                <a:gd name="connsiteX28" fmla="*/ 213504 w 216465"/>
                <a:gd name="connsiteY28" fmla="*/ 193932 h 208540"/>
                <a:gd name="connsiteX29" fmla="*/ 213504 w 216465"/>
                <a:gd name="connsiteY29" fmla="*/ 193932 h 208540"/>
                <a:gd name="connsiteX30" fmla="*/ 190316 w 216465"/>
                <a:gd name="connsiteY30" fmla="*/ 177159 h 208540"/>
                <a:gd name="connsiteX31" fmla="*/ 171131 w 216465"/>
                <a:gd name="connsiteY31" fmla="*/ 156967 h 208540"/>
                <a:gd name="connsiteX32" fmla="*/ 119031 w 216465"/>
                <a:gd name="connsiteY32" fmla="*/ 62728 h 208540"/>
                <a:gd name="connsiteX33" fmla="*/ 65713 w 216465"/>
                <a:gd name="connsiteY33" fmla="*/ 110041 h 208540"/>
                <a:gd name="connsiteX34" fmla="*/ 58397 w 216465"/>
                <a:gd name="connsiteY34" fmla="*/ 109725 h 208540"/>
                <a:gd name="connsiteX35" fmla="*/ 58397 w 216465"/>
                <a:gd name="connsiteY35" fmla="*/ 15334 h 208540"/>
                <a:gd name="connsiteX36" fmla="*/ 71542 w 216465"/>
                <a:gd name="connsiteY36" fmla="*/ 15182 h 208540"/>
                <a:gd name="connsiteX37" fmla="*/ 119031 w 216465"/>
                <a:gd name="connsiteY37" fmla="*/ 62728 h 2085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16465" h="208540">
                  <a:moveTo>
                    <a:pt x="145742" y="131087"/>
                  </a:moveTo>
                  <a:cubicBezTo>
                    <a:pt x="143541" y="128874"/>
                    <a:pt x="132632" y="117930"/>
                    <a:pt x="125609" y="111902"/>
                  </a:cubicBezTo>
                  <a:cubicBezTo>
                    <a:pt x="150190" y="100325"/>
                    <a:pt x="162609" y="82721"/>
                    <a:pt x="162609" y="59556"/>
                  </a:cubicBezTo>
                  <a:cubicBezTo>
                    <a:pt x="162609" y="41647"/>
                    <a:pt x="154053" y="0"/>
                    <a:pt x="74738" y="0"/>
                  </a:cubicBezTo>
                  <a:cubicBezTo>
                    <a:pt x="68242" y="0"/>
                    <a:pt x="53037" y="0"/>
                    <a:pt x="36321" y="632"/>
                  </a:cubicBezTo>
                  <a:cubicBezTo>
                    <a:pt x="26243" y="1077"/>
                    <a:pt x="20332" y="1393"/>
                    <a:pt x="15147" y="1662"/>
                  </a:cubicBezTo>
                  <a:lnTo>
                    <a:pt x="6450" y="2247"/>
                  </a:lnTo>
                  <a:lnTo>
                    <a:pt x="6450" y="16586"/>
                  </a:lnTo>
                  <a:lnTo>
                    <a:pt x="8978" y="16703"/>
                  </a:lnTo>
                  <a:cubicBezTo>
                    <a:pt x="15240" y="17160"/>
                    <a:pt x="17616" y="18787"/>
                    <a:pt x="17698" y="25061"/>
                  </a:cubicBezTo>
                  <a:lnTo>
                    <a:pt x="17581" y="173413"/>
                  </a:lnTo>
                  <a:cubicBezTo>
                    <a:pt x="17195" y="185715"/>
                    <a:pt x="16411" y="190842"/>
                    <a:pt x="2669" y="191486"/>
                  </a:cubicBezTo>
                  <a:lnTo>
                    <a:pt x="0" y="191626"/>
                  </a:lnTo>
                  <a:lnTo>
                    <a:pt x="0" y="205672"/>
                  </a:lnTo>
                  <a:lnTo>
                    <a:pt x="76435" y="205672"/>
                  </a:lnTo>
                  <a:lnTo>
                    <a:pt x="76435" y="191544"/>
                  </a:lnTo>
                  <a:lnTo>
                    <a:pt x="73790" y="191544"/>
                  </a:lnTo>
                  <a:cubicBezTo>
                    <a:pt x="58362" y="190783"/>
                    <a:pt x="58374" y="187260"/>
                    <a:pt x="58374" y="164353"/>
                  </a:cubicBezTo>
                  <a:lnTo>
                    <a:pt x="58374" y="124192"/>
                  </a:lnTo>
                  <a:cubicBezTo>
                    <a:pt x="66462" y="124664"/>
                    <a:pt x="74574" y="124593"/>
                    <a:pt x="82651" y="123982"/>
                  </a:cubicBezTo>
                  <a:cubicBezTo>
                    <a:pt x="95000" y="133205"/>
                    <a:pt x="99635" y="137583"/>
                    <a:pt x="115425" y="153526"/>
                  </a:cubicBezTo>
                  <a:lnTo>
                    <a:pt x="132035" y="170276"/>
                  </a:lnTo>
                  <a:cubicBezTo>
                    <a:pt x="135804" y="174092"/>
                    <a:pt x="139058" y="177556"/>
                    <a:pt x="141926" y="180612"/>
                  </a:cubicBezTo>
                  <a:cubicBezTo>
                    <a:pt x="144525" y="183374"/>
                    <a:pt x="146784" y="185949"/>
                    <a:pt x="148797" y="188232"/>
                  </a:cubicBezTo>
                  <a:cubicBezTo>
                    <a:pt x="161087" y="202173"/>
                    <a:pt x="166706" y="208540"/>
                    <a:pt x="201798" y="208540"/>
                  </a:cubicBezTo>
                  <a:cubicBezTo>
                    <a:pt x="205310" y="208540"/>
                    <a:pt x="209044" y="208540"/>
                    <a:pt x="213281" y="208376"/>
                  </a:cubicBezTo>
                  <a:lnTo>
                    <a:pt x="216465" y="208306"/>
                  </a:lnTo>
                  <a:lnTo>
                    <a:pt x="216465" y="194201"/>
                  </a:lnTo>
                  <a:lnTo>
                    <a:pt x="213504" y="193932"/>
                  </a:lnTo>
                  <a:lnTo>
                    <a:pt x="213504" y="193932"/>
                  </a:lnTo>
                  <a:cubicBezTo>
                    <a:pt x="205228" y="193160"/>
                    <a:pt x="200253" y="187810"/>
                    <a:pt x="190316" y="177159"/>
                  </a:cubicBezTo>
                  <a:lnTo>
                    <a:pt x="171131" y="156967"/>
                  </a:lnTo>
                  <a:close/>
                  <a:moveTo>
                    <a:pt x="119031" y="62728"/>
                  </a:moveTo>
                  <a:cubicBezTo>
                    <a:pt x="119031" y="95210"/>
                    <a:pt x="104247" y="108554"/>
                    <a:pt x="65713" y="110041"/>
                  </a:cubicBezTo>
                  <a:cubicBezTo>
                    <a:pt x="64543" y="110041"/>
                    <a:pt x="61195" y="110041"/>
                    <a:pt x="58397" y="109725"/>
                  </a:cubicBezTo>
                  <a:lnTo>
                    <a:pt x="58397" y="15334"/>
                  </a:lnTo>
                  <a:cubicBezTo>
                    <a:pt x="62225" y="15182"/>
                    <a:pt x="68101" y="15182"/>
                    <a:pt x="71542" y="15182"/>
                  </a:cubicBezTo>
                  <a:cubicBezTo>
                    <a:pt x="103193" y="15170"/>
                    <a:pt x="119031" y="31159"/>
                    <a:pt x="119031" y="62728"/>
                  </a:cubicBez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endParaRPr>
            </a:p>
          </p:txBody>
        </p:sp>
        <p:sp>
          <p:nvSpPr>
            <p:cNvPr id="14" name="Freihandform: Form 11">
              <a:extLst>
                <a:ext uri="{FF2B5EF4-FFF2-40B4-BE49-F238E27FC236}">
                  <a16:creationId xmlns:a16="http://schemas.microsoft.com/office/drawing/2014/main" id="{FB4A13ED-E5C8-8415-0939-2CFF1623C50E}"/>
                </a:ext>
              </a:extLst>
            </p:cNvPr>
            <p:cNvSpPr/>
            <p:nvPr/>
          </p:nvSpPr>
          <p:spPr>
            <a:xfrm>
              <a:off x="10830304" y="335724"/>
              <a:ext cx="207171" cy="202652"/>
            </a:xfrm>
            <a:custGeom>
              <a:avLst/>
              <a:gdLst>
                <a:gd name="connsiteX0" fmla="*/ 121430 w 207171"/>
                <a:gd name="connsiteY0" fmla="*/ 0 h 202652"/>
                <a:gd name="connsiteX1" fmla="*/ 90762 w 207171"/>
                <a:gd name="connsiteY1" fmla="*/ 0 h 202652"/>
                <a:gd name="connsiteX2" fmla="*/ 24979 w 207171"/>
                <a:gd name="connsiteY2" fmla="*/ 164529 h 202652"/>
                <a:gd name="connsiteX3" fmla="*/ 2610 w 207171"/>
                <a:gd name="connsiteY3" fmla="*/ 188431 h 202652"/>
                <a:gd name="connsiteX4" fmla="*/ 0 w 207171"/>
                <a:gd name="connsiteY4" fmla="*/ 188606 h 202652"/>
                <a:gd name="connsiteX5" fmla="*/ 0 w 207171"/>
                <a:gd name="connsiteY5" fmla="*/ 202652 h 202652"/>
                <a:gd name="connsiteX6" fmla="*/ 56735 w 207171"/>
                <a:gd name="connsiteY6" fmla="*/ 202652 h 202652"/>
                <a:gd name="connsiteX7" fmla="*/ 56735 w 207171"/>
                <a:gd name="connsiteY7" fmla="*/ 188712 h 202652"/>
                <a:gd name="connsiteX8" fmla="*/ 54184 w 207171"/>
                <a:gd name="connsiteY8" fmla="*/ 188489 h 202652"/>
                <a:gd name="connsiteX9" fmla="*/ 41530 w 207171"/>
                <a:gd name="connsiteY9" fmla="*/ 178879 h 202652"/>
                <a:gd name="connsiteX10" fmla="*/ 44562 w 207171"/>
                <a:gd name="connsiteY10" fmla="*/ 167478 h 202652"/>
                <a:gd name="connsiteX11" fmla="*/ 59779 w 207171"/>
                <a:gd name="connsiteY11" fmla="*/ 128196 h 202652"/>
                <a:gd name="connsiteX12" fmla="*/ 129706 w 207171"/>
                <a:gd name="connsiteY12" fmla="*/ 128196 h 202652"/>
                <a:gd name="connsiteX13" fmla="*/ 144923 w 207171"/>
                <a:gd name="connsiteY13" fmla="*/ 167385 h 202652"/>
                <a:gd name="connsiteX14" fmla="*/ 148844 w 207171"/>
                <a:gd name="connsiteY14" fmla="*/ 179734 h 202652"/>
                <a:gd name="connsiteX15" fmla="*/ 148937 w 207171"/>
                <a:gd name="connsiteY15" fmla="*/ 180202 h 202652"/>
                <a:gd name="connsiteX16" fmla="*/ 147896 w 207171"/>
                <a:gd name="connsiteY16" fmla="*/ 184802 h 202652"/>
                <a:gd name="connsiteX17" fmla="*/ 136577 w 207171"/>
                <a:gd name="connsiteY17" fmla="*/ 188243 h 202652"/>
                <a:gd name="connsiteX18" fmla="*/ 134002 w 207171"/>
                <a:gd name="connsiteY18" fmla="*/ 188442 h 202652"/>
                <a:gd name="connsiteX19" fmla="*/ 134002 w 207171"/>
                <a:gd name="connsiteY19" fmla="*/ 202606 h 202652"/>
                <a:gd name="connsiteX20" fmla="*/ 207171 w 207171"/>
                <a:gd name="connsiteY20" fmla="*/ 202606 h 202652"/>
                <a:gd name="connsiteX21" fmla="*/ 207171 w 207171"/>
                <a:gd name="connsiteY21" fmla="*/ 188700 h 202652"/>
                <a:gd name="connsiteX22" fmla="*/ 204502 w 207171"/>
                <a:gd name="connsiteY22" fmla="*/ 188559 h 202652"/>
                <a:gd name="connsiteX23" fmla="*/ 184603 w 207171"/>
                <a:gd name="connsiteY23" fmla="*/ 167759 h 202652"/>
                <a:gd name="connsiteX24" fmla="*/ 121641 w 207171"/>
                <a:gd name="connsiteY24" fmla="*/ 107161 h 202652"/>
                <a:gd name="connsiteX25" fmla="*/ 67797 w 207171"/>
                <a:gd name="connsiteY25" fmla="*/ 107161 h 202652"/>
                <a:gd name="connsiteX26" fmla="*/ 95140 w 207171"/>
                <a:gd name="connsiteY26" fmla="*/ 37012 h 2026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207171" h="202652">
                  <a:moveTo>
                    <a:pt x="121430" y="0"/>
                  </a:moveTo>
                  <a:lnTo>
                    <a:pt x="90762" y="0"/>
                  </a:lnTo>
                  <a:lnTo>
                    <a:pt x="24979" y="164529"/>
                  </a:lnTo>
                  <a:cubicBezTo>
                    <a:pt x="17172" y="183994"/>
                    <a:pt x="15755" y="187506"/>
                    <a:pt x="2610" y="188431"/>
                  </a:cubicBezTo>
                  <a:lnTo>
                    <a:pt x="0" y="188606"/>
                  </a:lnTo>
                  <a:lnTo>
                    <a:pt x="0" y="202652"/>
                  </a:lnTo>
                  <a:lnTo>
                    <a:pt x="56735" y="202652"/>
                  </a:lnTo>
                  <a:lnTo>
                    <a:pt x="56735" y="188712"/>
                  </a:lnTo>
                  <a:lnTo>
                    <a:pt x="54184" y="188489"/>
                  </a:lnTo>
                  <a:cubicBezTo>
                    <a:pt x="43649" y="187319"/>
                    <a:pt x="41202" y="183315"/>
                    <a:pt x="41530" y="178879"/>
                  </a:cubicBezTo>
                  <a:cubicBezTo>
                    <a:pt x="41741" y="176105"/>
                    <a:pt x="42572" y="172839"/>
                    <a:pt x="44562" y="167478"/>
                  </a:cubicBezTo>
                  <a:lnTo>
                    <a:pt x="59779" y="128196"/>
                  </a:lnTo>
                  <a:lnTo>
                    <a:pt x="129706" y="128196"/>
                  </a:lnTo>
                  <a:lnTo>
                    <a:pt x="144923" y="167385"/>
                  </a:lnTo>
                  <a:cubicBezTo>
                    <a:pt x="147369" y="174326"/>
                    <a:pt x="147907" y="175672"/>
                    <a:pt x="148844" y="179734"/>
                  </a:cubicBezTo>
                  <a:lnTo>
                    <a:pt x="148937" y="180202"/>
                  </a:lnTo>
                  <a:cubicBezTo>
                    <a:pt x="149324" y="181814"/>
                    <a:pt x="148939" y="183513"/>
                    <a:pt x="147896" y="184802"/>
                  </a:cubicBezTo>
                  <a:cubicBezTo>
                    <a:pt x="146421" y="186651"/>
                    <a:pt x="142780" y="187763"/>
                    <a:pt x="136577" y="188243"/>
                  </a:cubicBezTo>
                  <a:lnTo>
                    <a:pt x="134002" y="188442"/>
                  </a:lnTo>
                  <a:lnTo>
                    <a:pt x="134002" y="202606"/>
                  </a:lnTo>
                  <a:lnTo>
                    <a:pt x="207171" y="202606"/>
                  </a:lnTo>
                  <a:lnTo>
                    <a:pt x="207171" y="188700"/>
                  </a:lnTo>
                  <a:lnTo>
                    <a:pt x="204502" y="188559"/>
                  </a:lnTo>
                  <a:cubicBezTo>
                    <a:pt x="191989" y="187986"/>
                    <a:pt x="190854" y="184896"/>
                    <a:pt x="184603" y="167759"/>
                  </a:cubicBezTo>
                  <a:close/>
                  <a:moveTo>
                    <a:pt x="121641" y="107161"/>
                  </a:moveTo>
                  <a:lnTo>
                    <a:pt x="67797" y="107161"/>
                  </a:lnTo>
                  <a:lnTo>
                    <a:pt x="95140" y="37012"/>
                  </a:ln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endParaRPr>
            </a:p>
          </p:txBody>
        </p:sp>
        <p:sp>
          <p:nvSpPr>
            <p:cNvPr id="16" name="Freihandform: Form 12">
              <a:extLst>
                <a:ext uri="{FF2B5EF4-FFF2-40B4-BE49-F238E27FC236}">
                  <a16:creationId xmlns:a16="http://schemas.microsoft.com/office/drawing/2014/main" id="{349DB247-DA0B-1D11-467B-580887DFD7D8}"/>
                </a:ext>
              </a:extLst>
            </p:cNvPr>
            <p:cNvSpPr/>
            <p:nvPr/>
          </p:nvSpPr>
          <p:spPr>
            <a:xfrm>
              <a:off x="11256925" y="330434"/>
              <a:ext cx="218794" cy="212964"/>
            </a:xfrm>
            <a:custGeom>
              <a:avLst/>
              <a:gdLst>
                <a:gd name="connsiteX0" fmla="*/ 109397 w 218794"/>
                <a:gd name="connsiteY0" fmla="*/ 0 h 212964"/>
                <a:gd name="connsiteX1" fmla="*/ 0 w 218794"/>
                <a:gd name="connsiteY1" fmla="*/ 111878 h 212964"/>
                <a:gd name="connsiteX2" fmla="*/ 108227 w 218794"/>
                <a:gd name="connsiteY2" fmla="*/ 212965 h 212964"/>
                <a:gd name="connsiteX3" fmla="*/ 218794 w 218794"/>
                <a:gd name="connsiteY3" fmla="*/ 102994 h 212964"/>
                <a:gd name="connsiteX4" fmla="*/ 109397 w 218794"/>
                <a:gd name="connsiteY4" fmla="*/ 0 h 212964"/>
                <a:gd name="connsiteX5" fmla="*/ 177861 w 218794"/>
                <a:gd name="connsiteY5" fmla="*/ 110919 h 212964"/>
                <a:gd name="connsiteX6" fmla="*/ 112897 w 218794"/>
                <a:gd name="connsiteY6" fmla="*/ 197210 h 212964"/>
                <a:gd name="connsiteX7" fmla="*/ 40945 w 218794"/>
                <a:gd name="connsiteY7" fmla="*/ 103310 h 212964"/>
                <a:gd name="connsiteX8" fmla="*/ 107056 w 218794"/>
                <a:gd name="connsiteY8" fmla="*/ 15744 h 212964"/>
                <a:gd name="connsiteX9" fmla="*/ 177861 w 218794"/>
                <a:gd name="connsiteY9" fmla="*/ 110919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18794" h="212964">
                  <a:moveTo>
                    <a:pt x="109397" y="0"/>
                  </a:moveTo>
                  <a:cubicBezTo>
                    <a:pt x="45966" y="0"/>
                    <a:pt x="0" y="47043"/>
                    <a:pt x="0" y="111878"/>
                  </a:cubicBezTo>
                  <a:cubicBezTo>
                    <a:pt x="0" y="170405"/>
                    <a:pt x="45522" y="212965"/>
                    <a:pt x="108227" y="212965"/>
                  </a:cubicBezTo>
                  <a:cubicBezTo>
                    <a:pt x="171259" y="212965"/>
                    <a:pt x="218794" y="165687"/>
                    <a:pt x="218794" y="102994"/>
                  </a:cubicBezTo>
                  <a:cubicBezTo>
                    <a:pt x="218794" y="42349"/>
                    <a:pt x="173811" y="0"/>
                    <a:pt x="109397" y="0"/>
                  </a:cubicBezTo>
                  <a:close/>
                  <a:moveTo>
                    <a:pt x="177861" y="110919"/>
                  </a:moveTo>
                  <a:cubicBezTo>
                    <a:pt x="177861" y="162539"/>
                    <a:pt x="151758" y="197210"/>
                    <a:pt x="112897" y="197210"/>
                  </a:cubicBezTo>
                  <a:cubicBezTo>
                    <a:pt x="77138" y="197210"/>
                    <a:pt x="40945" y="164950"/>
                    <a:pt x="40945" y="103310"/>
                  </a:cubicBezTo>
                  <a:cubicBezTo>
                    <a:pt x="40945" y="49302"/>
                    <a:pt x="66275" y="15744"/>
                    <a:pt x="107056" y="15744"/>
                  </a:cubicBezTo>
                  <a:cubicBezTo>
                    <a:pt x="148738" y="15744"/>
                    <a:pt x="177861" y="54886"/>
                    <a:pt x="177861" y="110919"/>
                  </a:cubicBez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endParaRPr>
            </a:p>
          </p:txBody>
        </p:sp>
        <p:sp>
          <p:nvSpPr>
            <p:cNvPr id="17" name="Freihandform: Form 13">
              <a:extLst>
                <a:ext uri="{FF2B5EF4-FFF2-40B4-BE49-F238E27FC236}">
                  <a16:creationId xmlns:a16="http://schemas.microsoft.com/office/drawing/2014/main" id="{08C56815-74A5-51E7-0FF5-A4F27CC0A4D5}"/>
                </a:ext>
              </a:extLst>
            </p:cNvPr>
            <p:cNvSpPr/>
            <p:nvPr/>
          </p:nvSpPr>
          <p:spPr>
            <a:xfrm>
              <a:off x="11045727" y="330434"/>
              <a:ext cx="196811" cy="212964"/>
            </a:xfrm>
            <a:custGeom>
              <a:avLst/>
              <a:gdLst>
                <a:gd name="connsiteX0" fmla="*/ 196812 w 196811"/>
                <a:gd name="connsiteY0" fmla="*/ 165348 h 212964"/>
                <a:gd name="connsiteX1" fmla="*/ 180635 w 196811"/>
                <a:gd name="connsiteY1" fmla="*/ 165547 h 212964"/>
                <a:gd name="connsiteX2" fmla="*/ 179828 w 196811"/>
                <a:gd name="connsiteY2" fmla="*/ 166659 h 212964"/>
                <a:gd name="connsiteX3" fmla="*/ 118960 w 196811"/>
                <a:gd name="connsiteY3" fmla="*/ 195922 h 212964"/>
                <a:gd name="connsiteX4" fmla="*/ 70255 w 196811"/>
                <a:gd name="connsiteY4" fmla="*/ 176585 h 212964"/>
                <a:gd name="connsiteX5" fmla="*/ 41729 w 196811"/>
                <a:gd name="connsiteY5" fmla="*/ 102023 h 212964"/>
                <a:gd name="connsiteX6" fmla="*/ 113623 w 196811"/>
                <a:gd name="connsiteY6" fmla="*/ 15720 h 212964"/>
                <a:gd name="connsiteX7" fmla="*/ 179359 w 196811"/>
                <a:gd name="connsiteY7" fmla="*/ 50391 h 212964"/>
                <a:gd name="connsiteX8" fmla="*/ 180155 w 196811"/>
                <a:gd name="connsiteY8" fmla="*/ 51959 h 212964"/>
                <a:gd name="connsiteX9" fmla="*/ 193558 w 196811"/>
                <a:gd name="connsiteY9" fmla="*/ 51749 h 212964"/>
                <a:gd name="connsiteX10" fmla="*/ 192259 w 196811"/>
                <a:gd name="connsiteY10" fmla="*/ 9142 h 212964"/>
                <a:gd name="connsiteX11" fmla="*/ 181267 w 196811"/>
                <a:gd name="connsiteY11" fmla="*/ 9142 h 212964"/>
                <a:gd name="connsiteX12" fmla="*/ 180694 w 196811"/>
                <a:gd name="connsiteY12" fmla="*/ 9528 h 212964"/>
                <a:gd name="connsiteX13" fmla="*/ 176515 w 196811"/>
                <a:gd name="connsiteY13" fmla="*/ 10453 h 212964"/>
                <a:gd name="connsiteX14" fmla="*/ 163768 w 196811"/>
                <a:gd name="connsiteY14" fmla="*/ 7761 h 212964"/>
                <a:gd name="connsiteX15" fmla="*/ 112441 w 196811"/>
                <a:gd name="connsiteY15" fmla="*/ 0 h 212964"/>
                <a:gd name="connsiteX16" fmla="*/ 0 w 196811"/>
                <a:gd name="connsiteY16" fmla="*/ 110275 h 212964"/>
                <a:gd name="connsiteX17" fmla="*/ 110029 w 196811"/>
                <a:gd name="connsiteY17" fmla="*/ 212965 h 212964"/>
                <a:gd name="connsiteX18" fmla="*/ 149382 w 196811"/>
                <a:gd name="connsiteY18" fmla="*/ 208411 h 212964"/>
                <a:gd name="connsiteX19" fmla="*/ 169808 w 196811"/>
                <a:gd name="connsiteY19" fmla="*/ 205661 h 212964"/>
                <a:gd name="connsiteX20" fmla="*/ 172804 w 196811"/>
                <a:gd name="connsiteY20" fmla="*/ 205567 h 212964"/>
                <a:gd name="connsiteX21" fmla="*/ 179406 w 196811"/>
                <a:gd name="connsiteY21" fmla="*/ 205719 h 212964"/>
                <a:gd name="connsiteX22" fmla="*/ 182414 w 196811"/>
                <a:gd name="connsiteY22" fmla="*/ 206012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96811" h="212964">
                  <a:moveTo>
                    <a:pt x="196812" y="165348"/>
                  </a:moveTo>
                  <a:lnTo>
                    <a:pt x="180635" y="165547"/>
                  </a:lnTo>
                  <a:lnTo>
                    <a:pt x="179828" y="166659"/>
                  </a:lnTo>
                  <a:cubicBezTo>
                    <a:pt x="163440" y="186839"/>
                    <a:pt x="146315" y="195044"/>
                    <a:pt x="118960" y="195922"/>
                  </a:cubicBezTo>
                  <a:cubicBezTo>
                    <a:pt x="100712" y="196577"/>
                    <a:pt x="83927" y="189824"/>
                    <a:pt x="70255" y="176585"/>
                  </a:cubicBezTo>
                  <a:cubicBezTo>
                    <a:pt x="52123" y="159027"/>
                    <a:pt x="41729" y="131859"/>
                    <a:pt x="41729" y="102023"/>
                  </a:cubicBezTo>
                  <a:cubicBezTo>
                    <a:pt x="41729" y="50403"/>
                    <a:pt x="70618" y="15720"/>
                    <a:pt x="113623" y="15720"/>
                  </a:cubicBezTo>
                  <a:cubicBezTo>
                    <a:pt x="143799" y="15720"/>
                    <a:pt x="168989" y="28994"/>
                    <a:pt x="179359" y="50391"/>
                  </a:cubicBezTo>
                  <a:lnTo>
                    <a:pt x="180155" y="51959"/>
                  </a:lnTo>
                  <a:lnTo>
                    <a:pt x="193558" y="51749"/>
                  </a:lnTo>
                  <a:lnTo>
                    <a:pt x="192259" y="9142"/>
                  </a:lnTo>
                  <a:lnTo>
                    <a:pt x="181267" y="9142"/>
                  </a:lnTo>
                  <a:lnTo>
                    <a:pt x="180694" y="9528"/>
                  </a:lnTo>
                  <a:cubicBezTo>
                    <a:pt x="179431" y="10264"/>
                    <a:pt x="177970" y="10587"/>
                    <a:pt x="176515" y="10453"/>
                  </a:cubicBezTo>
                  <a:cubicBezTo>
                    <a:pt x="173928" y="10359"/>
                    <a:pt x="169492" y="9282"/>
                    <a:pt x="163768" y="7761"/>
                  </a:cubicBezTo>
                  <a:cubicBezTo>
                    <a:pt x="152039" y="4682"/>
                    <a:pt x="134259" y="0"/>
                    <a:pt x="112441" y="0"/>
                  </a:cubicBezTo>
                  <a:cubicBezTo>
                    <a:pt x="34765" y="0"/>
                    <a:pt x="0" y="55377"/>
                    <a:pt x="0" y="110275"/>
                  </a:cubicBezTo>
                  <a:cubicBezTo>
                    <a:pt x="0" y="172652"/>
                    <a:pt x="43192" y="212965"/>
                    <a:pt x="110029" y="212965"/>
                  </a:cubicBezTo>
                  <a:cubicBezTo>
                    <a:pt x="124965" y="212965"/>
                    <a:pt x="138461" y="210448"/>
                    <a:pt x="149382" y="208411"/>
                  </a:cubicBezTo>
                  <a:cubicBezTo>
                    <a:pt x="156745" y="207030"/>
                    <a:pt x="163838" y="205789"/>
                    <a:pt x="169808" y="205661"/>
                  </a:cubicBezTo>
                  <a:cubicBezTo>
                    <a:pt x="171119" y="205661"/>
                    <a:pt x="172032" y="205661"/>
                    <a:pt x="172804" y="205567"/>
                  </a:cubicBezTo>
                  <a:cubicBezTo>
                    <a:pt x="175006" y="205507"/>
                    <a:pt x="177209" y="205558"/>
                    <a:pt x="179406" y="205719"/>
                  </a:cubicBezTo>
                  <a:lnTo>
                    <a:pt x="182414" y="206012"/>
                  </a:ln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F90272DA-58CE-021B-E5FA-70B409E0199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8799" y="719998"/>
            <a:ext cx="11233927" cy="307777"/>
          </a:xfrm>
        </p:spPr>
        <p:txBody>
          <a:bodyPr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1-2 zeilige Kernaussage</a:t>
            </a:r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242645113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3" descr="Ein Bild, das Person, Menschliches Gesicht, Im Haus, Kleidung enthält.&#10;&#10;Automatisch generierte Beschreibung">
            <a:extLst>
              <a:ext uri="{FF2B5EF4-FFF2-40B4-BE49-F238E27FC236}">
                <a16:creationId xmlns:a16="http://schemas.microsoft.com/office/drawing/2014/main" id="{870AA4CA-CE70-14A3-DDDA-CC1372E8A36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alphaModFix amt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aphicFrame>
        <p:nvGraphicFramePr>
          <p:cNvPr id="15" name="Objekt 14" hidden="1">
            <a:extLst>
              <a:ext uri="{FF2B5EF4-FFF2-40B4-BE49-F238E27FC236}">
                <a16:creationId xmlns:a16="http://schemas.microsoft.com/office/drawing/2014/main" id="{14F0D678-749F-5213-EBAC-FE0C6AED623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35" imgH="435" progId="TCLayout.ActiveDocument.1">
                  <p:embed/>
                </p:oleObj>
              </mc:Choice>
              <mc:Fallback>
                <p:oleObj name="think-cell Slide" r:id="rId4" imgW="435" imgH="435" progId="TCLayout.ActiveDocument.1">
                  <p:embed/>
                  <p:pic>
                    <p:nvPicPr>
                      <p:cNvPr id="15" name="Objekt 14" hidden="1">
                        <a:extLst>
                          <a:ext uri="{FF2B5EF4-FFF2-40B4-BE49-F238E27FC236}">
                            <a16:creationId xmlns:a16="http://schemas.microsoft.com/office/drawing/2014/main" id="{14F0D678-749F-5213-EBAC-FE0C6AED623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Textfeld 16">
            <a:extLst>
              <a:ext uri="{FF2B5EF4-FFF2-40B4-BE49-F238E27FC236}">
                <a16:creationId xmlns:a16="http://schemas.microsoft.com/office/drawing/2014/main" id="{E397A3F1-954A-E5ED-2502-D7CCF267D9BB}"/>
              </a:ext>
            </a:extLst>
          </p:cNvPr>
          <p:cNvSpPr txBox="1"/>
          <p:nvPr userDrawn="1"/>
        </p:nvSpPr>
        <p:spPr>
          <a:xfrm>
            <a:off x="609919" y="5991139"/>
            <a:ext cx="2191470" cy="215444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lvl="0" rtl="0"/>
            <a:r>
              <a:rPr lang="en-GB" sz="1400" b="0" i="0" err="1">
                <a:solidFill>
                  <a:schemeClr val="bg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Eschborn</a:t>
            </a:r>
            <a:r>
              <a:rPr lang="en-GB" sz="1400" b="0" i="0">
                <a:solidFill>
                  <a:schemeClr val="bg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,  29. August 2023</a:t>
            </a:r>
            <a:endParaRPr lang="en-GB" sz="1400" b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2" name="Gruppieren 1">
            <a:extLst>
              <a:ext uri="{FF2B5EF4-FFF2-40B4-BE49-F238E27FC236}">
                <a16:creationId xmlns:a16="http://schemas.microsoft.com/office/drawing/2014/main" id="{6BBFC321-AF73-34B1-2BC3-F5F55D169BC8}"/>
              </a:ext>
            </a:extLst>
          </p:cNvPr>
          <p:cNvGrpSpPr/>
          <p:nvPr userDrawn="1"/>
        </p:nvGrpSpPr>
        <p:grpSpPr>
          <a:xfrm>
            <a:off x="10240057" y="5996920"/>
            <a:ext cx="1470744" cy="209663"/>
            <a:chOff x="10240056" y="330434"/>
            <a:chExt cx="1472671" cy="212964"/>
          </a:xfrm>
          <a:solidFill>
            <a:schemeClr val="bg1"/>
          </a:solidFill>
        </p:grpSpPr>
        <p:sp>
          <p:nvSpPr>
            <p:cNvPr id="3" name="Freihandform: Form 2">
              <a:extLst>
                <a:ext uri="{FF2B5EF4-FFF2-40B4-BE49-F238E27FC236}">
                  <a16:creationId xmlns:a16="http://schemas.microsoft.com/office/drawing/2014/main" id="{5F9B5ED9-B182-D35E-0CA4-244D48638646}"/>
                </a:ext>
              </a:extLst>
            </p:cNvPr>
            <p:cNvSpPr/>
            <p:nvPr/>
          </p:nvSpPr>
          <p:spPr>
            <a:xfrm>
              <a:off x="10602134" y="335724"/>
              <a:ext cx="213948" cy="204724"/>
            </a:xfrm>
            <a:custGeom>
              <a:avLst/>
              <a:gdLst>
                <a:gd name="connsiteX0" fmla="*/ 160491 w 213948"/>
                <a:gd name="connsiteY0" fmla="*/ 14175 h 204724"/>
                <a:gd name="connsiteX1" fmla="*/ 163136 w 213948"/>
                <a:gd name="connsiteY1" fmla="*/ 14327 h 204724"/>
                <a:gd name="connsiteX2" fmla="*/ 176854 w 213948"/>
                <a:gd name="connsiteY2" fmla="*/ 36064 h 204724"/>
                <a:gd name="connsiteX3" fmla="*/ 176854 w 213948"/>
                <a:gd name="connsiteY3" fmla="*/ 144712 h 204724"/>
                <a:gd name="connsiteX4" fmla="*/ 49408 w 213948"/>
                <a:gd name="connsiteY4" fmla="*/ 0 h 204724"/>
                <a:gd name="connsiteX5" fmla="*/ 4834 w 213948"/>
                <a:gd name="connsiteY5" fmla="*/ 0 h 204724"/>
                <a:gd name="connsiteX6" fmla="*/ 4834 w 213948"/>
                <a:gd name="connsiteY6" fmla="*/ 13894 h 204724"/>
                <a:gd name="connsiteX7" fmla="*/ 7292 w 213948"/>
                <a:gd name="connsiteY7" fmla="*/ 14140 h 204724"/>
                <a:gd name="connsiteX8" fmla="*/ 16727 w 213948"/>
                <a:gd name="connsiteY8" fmla="*/ 21163 h 204724"/>
                <a:gd name="connsiteX9" fmla="*/ 16727 w 213948"/>
                <a:gd name="connsiteY9" fmla="*/ 164821 h 204724"/>
                <a:gd name="connsiteX10" fmla="*/ 2681 w 213948"/>
                <a:gd name="connsiteY10" fmla="*/ 188372 h 204724"/>
                <a:gd name="connsiteX11" fmla="*/ 0 w 213948"/>
                <a:gd name="connsiteY11" fmla="*/ 188513 h 204724"/>
                <a:gd name="connsiteX12" fmla="*/ 0 w 213948"/>
                <a:gd name="connsiteY12" fmla="*/ 202559 h 204724"/>
                <a:gd name="connsiteX13" fmla="*/ 54523 w 213948"/>
                <a:gd name="connsiteY13" fmla="*/ 202559 h 204724"/>
                <a:gd name="connsiteX14" fmla="*/ 54523 w 213948"/>
                <a:gd name="connsiteY14" fmla="*/ 188665 h 204724"/>
                <a:gd name="connsiteX15" fmla="*/ 51936 w 213948"/>
                <a:gd name="connsiteY15" fmla="*/ 188466 h 204724"/>
                <a:gd name="connsiteX16" fmla="*/ 38580 w 213948"/>
                <a:gd name="connsiteY16" fmla="*/ 162457 h 204724"/>
                <a:gd name="connsiteX17" fmla="*/ 38580 w 213948"/>
                <a:gd name="connsiteY17" fmla="*/ 46048 h 204724"/>
                <a:gd name="connsiteX18" fmla="*/ 177873 w 213948"/>
                <a:gd name="connsiteY18" fmla="*/ 203776 h 204724"/>
                <a:gd name="connsiteX19" fmla="*/ 178716 w 213948"/>
                <a:gd name="connsiteY19" fmla="*/ 204724 h 204724"/>
                <a:gd name="connsiteX20" fmla="*/ 198708 w 213948"/>
                <a:gd name="connsiteY20" fmla="*/ 204724 h 204724"/>
                <a:gd name="connsiteX21" fmla="*/ 198708 w 213948"/>
                <a:gd name="connsiteY21" fmla="*/ 39271 h 204724"/>
                <a:gd name="connsiteX22" fmla="*/ 211373 w 213948"/>
                <a:gd name="connsiteY22" fmla="*/ 14421 h 204724"/>
                <a:gd name="connsiteX23" fmla="*/ 213948 w 213948"/>
                <a:gd name="connsiteY23" fmla="*/ 14198 h 204724"/>
                <a:gd name="connsiteX24" fmla="*/ 213948 w 213948"/>
                <a:gd name="connsiteY24" fmla="*/ 0 h 204724"/>
                <a:gd name="connsiteX25" fmla="*/ 160491 w 213948"/>
                <a:gd name="connsiteY25" fmla="*/ 0 h 2047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213948" h="204724">
                  <a:moveTo>
                    <a:pt x="160491" y="14175"/>
                  </a:moveTo>
                  <a:lnTo>
                    <a:pt x="163136" y="14327"/>
                  </a:lnTo>
                  <a:cubicBezTo>
                    <a:pt x="176878" y="15111"/>
                    <a:pt x="176878" y="17909"/>
                    <a:pt x="176854" y="36064"/>
                  </a:cubicBezTo>
                  <a:lnTo>
                    <a:pt x="176854" y="144712"/>
                  </a:lnTo>
                  <a:lnTo>
                    <a:pt x="49408" y="0"/>
                  </a:lnTo>
                  <a:lnTo>
                    <a:pt x="4834" y="0"/>
                  </a:lnTo>
                  <a:lnTo>
                    <a:pt x="4834" y="13894"/>
                  </a:lnTo>
                  <a:lnTo>
                    <a:pt x="7292" y="14140"/>
                  </a:lnTo>
                  <a:cubicBezTo>
                    <a:pt x="14655" y="14643"/>
                    <a:pt x="16586" y="17101"/>
                    <a:pt x="16727" y="21163"/>
                  </a:cubicBezTo>
                  <a:lnTo>
                    <a:pt x="16727" y="164821"/>
                  </a:lnTo>
                  <a:cubicBezTo>
                    <a:pt x="16727" y="182882"/>
                    <a:pt x="16727" y="187728"/>
                    <a:pt x="2681" y="188372"/>
                  </a:cubicBezTo>
                  <a:lnTo>
                    <a:pt x="0" y="188513"/>
                  </a:lnTo>
                  <a:lnTo>
                    <a:pt x="0" y="202559"/>
                  </a:lnTo>
                  <a:lnTo>
                    <a:pt x="54523" y="202559"/>
                  </a:lnTo>
                  <a:lnTo>
                    <a:pt x="54523" y="188665"/>
                  </a:lnTo>
                  <a:lnTo>
                    <a:pt x="51936" y="188466"/>
                  </a:lnTo>
                  <a:cubicBezTo>
                    <a:pt x="38557" y="187424"/>
                    <a:pt x="38569" y="182145"/>
                    <a:pt x="38580" y="162457"/>
                  </a:cubicBezTo>
                  <a:lnTo>
                    <a:pt x="38580" y="46048"/>
                  </a:lnTo>
                  <a:lnTo>
                    <a:pt x="177873" y="203776"/>
                  </a:lnTo>
                  <a:lnTo>
                    <a:pt x="178716" y="204724"/>
                  </a:lnTo>
                  <a:lnTo>
                    <a:pt x="198708" y="204724"/>
                  </a:lnTo>
                  <a:lnTo>
                    <a:pt x="198708" y="39271"/>
                  </a:lnTo>
                  <a:cubicBezTo>
                    <a:pt x="198708" y="19080"/>
                    <a:pt x="199797" y="15521"/>
                    <a:pt x="211373" y="14421"/>
                  </a:cubicBezTo>
                  <a:lnTo>
                    <a:pt x="213948" y="14198"/>
                  </a:lnTo>
                  <a:lnTo>
                    <a:pt x="213948" y="0"/>
                  </a:lnTo>
                  <a:lnTo>
                    <a:pt x="160491" y="0"/>
                  </a:ln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>
                <a:solidFill>
                  <a:schemeClr val="bg1"/>
                </a:solidFill>
              </a:endParaRPr>
            </a:p>
          </p:txBody>
        </p:sp>
        <p:sp>
          <p:nvSpPr>
            <p:cNvPr id="5" name="Freihandform: Form 4">
              <a:extLst>
                <a:ext uri="{FF2B5EF4-FFF2-40B4-BE49-F238E27FC236}">
                  <a16:creationId xmlns:a16="http://schemas.microsoft.com/office/drawing/2014/main" id="{DEF32AD2-2AB2-821D-9830-55060927174C}"/>
                </a:ext>
              </a:extLst>
            </p:cNvPr>
            <p:cNvSpPr/>
            <p:nvPr/>
          </p:nvSpPr>
          <p:spPr>
            <a:xfrm>
              <a:off x="10240056" y="330434"/>
              <a:ext cx="150166" cy="212964"/>
            </a:xfrm>
            <a:custGeom>
              <a:avLst/>
              <a:gdLst>
                <a:gd name="connsiteX0" fmla="*/ 87918 w 150166"/>
                <a:gd name="connsiteY0" fmla="*/ 86267 h 212964"/>
                <a:gd name="connsiteX1" fmla="*/ 87918 w 150166"/>
                <a:gd name="connsiteY1" fmla="*/ 86267 h 212964"/>
                <a:gd name="connsiteX2" fmla="*/ 43309 w 150166"/>
                <a:gd name="connsiteY2" fmla="*/ 46282 h 212964"/>
                <a:gd name="connsiteX3" fmla="*/ 73427 w 150166"/>
                <a:gd name="connsiteY3" fmla="*/ 17078 h 212964"/>
                <a:gd name="connsiteX4" fmla="*/ 120248 w 150166"/>
                <a:gd name="connsiteY4" fmla="*/ 39739 h 212964"/>
                <a:gd name="connsiteX5" fmla="*/ 121032 w 150166"/>
                <a:gd name="connsiteY5" fmla="*/ 41331 h 212964"/>
                <a:gd name="connsiteX6" fmla="*/ 136109 w 150166"/>
                <a:gd name="connsiteY6" fmla="*/ 41167 h 212964"/>
                <a:gd name="connsiteX7" fmla="*/ 129589 w 150166"/>
                <a:gd name="connsiteY7" fmla="*/ 3078 h 212964"/>
                <a:gd name="connsiteX8" fmla="*/ 120026 w 150166"/>
                <a:gd name="connsiteY8" fmla="*/ 3078 h 212964"/>
                <a:gd name="connsiteX9" fmla="*/ 118551 w 150166"/>
                <a:gd name="connsiteY9" fmla="*/ 3746 h 212964"/>
                <a:gd name="connsiteX10" fmla="*/ 110977 w 150166"/>
                <a:gd name="connsiteY10" fmla="*/ 5384 h 212964"/>
                <a:gd name="connsiteX11" fmla="*/ 101438 w 150166"/>
                <a:gd name="connsiteY11" fmla="*/ 3804 h 212964"/>
                <a:gd name="connsiteX12" fmla="*/ 95807 w 150166"/>
                <a:gd name="connsiteY12" fmla="*/ 2634 h 212964"/>
                <a:gd name="connsiteX13" fmla="*/ 69412 w 150166"/>
                <a:gd name="connsiteY13" fmla="*/ 0 h 212964"/>
                <a:gd name="connsiteX14" fmla="*/ 5103 w 150166"/>
                <a:gd name="connsiteY14" fmla="*/ 55096 h 212964"/>
                <a:gd name="connsiteX15" fmla="*/ 63817 w 150166"/>
                <a:gd name="connsiteY15" fmla="*/ 117415 h 212964"/>
                <a:gd name="connsiteX16" fmla="*/ 110966 w 150166"/>
                <a:gd name="connsiteY16" fmla="*/ 162094 h 212964"/>
                <a:gd name="connsiteX17" fmla="*/ 72093 w 150166"/>
                <a:gd name="connsiteY17" fmla="*/ 193944 h 212964"/>
                <a:gd name="connsiteX18" fmla="*/ 15030 w 150166"/>
                <a:gd name="connsiteY18" fmla="*/ 167174 h 212964"/>
                <a:gd name="connsiteX19" fmla="*/ 14327 w 150166"/>
                <a:gd name="connsiteY19" fmla="*/ 165418 h 212964"/>
                <a:gd name="connsiteX20" fmla="*/ 0 w 150166"/>
                <a:gd name="connsiteY20" fmla="*/ 165418 h 212964"/>
                <a:gd name="connsiteX21" fmla="*/ 6368 w 150166"/>
                <a:gd name="connsiteY21" fmla="*/ 208283 h 212964"/>
                <a:gd name="connsiteX22" fmla="*/ 17932 w 150166"/>
                <a:gd name="connsiteY22" fmla="*/ 208283 h 212964"/>
                <a:gd name="connsiteX23" fmla="*/ 18740 w 150166"/>
                <a:gd name="connsiteY23" fmla="*/ 207510 h 212964"/>
                <a:gd name="connsiteX24" fmla="*/ 25997 w 150166"/>
                <a:gd name="connsiteY24" fmla="*/ 205895 h 212964"/>
                <a:gd name="connsiteX25" fmla="*/ 38393 w 150166"/>
                <a:gd name="connsiteY25" fmla="*/ 208107 h 212964"/>
                <a:gd name="connsiteX26" fmla="*/ 74445 w 150166"/>
                <a:gd name="connsiteY26" fmla="*/ 212965 h 212964"/>
                <a:gd name="connsiteX27" fmla="*/ 150167 w 150166"/>
                <a:gd name="connsiteY27" fmla="*/ 152648 h 212964"/>
                <a:gd name="connsiteX28" fmla="*/ 87930 w 150166"/>
                <a:gd name="connsiteY28" fmla="*/ 86267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150166" h="212964">
                  <a:moveTo>
                    <a:pt x="87918" y="86267"/>
                  </a:moveTo>
                  <a:lnTo>
                    <a:pt x="87918" y="86267"/>
                  </a:lnTo>
                  <a:cubicBezTo>
                    <a:pt x="64976" y="74750"/>
                    <a:pt x="43309" y="63864"/>
                    <a:pt x="43309" y="46282"/>
                  </a:cubicBezTo>
                  <a:cubicBezTo>
                    <a:pt x="43309" y="34507"/>
                    <a:pt x="52884" y="17078"/>
                    <a:pt x="73427" y="17078"/>
                  </a:cubicBezTo>
                  <a:cubicBezTo>
                    <a:pt x="97142" y="17078"/>
                    <a:pt x="111305" y="23574"/>
                    <a:pt x="120248" y="39739"/>
                  </a:cubicBezTo>
                  <a:lnTo>
                    <a:pt x="121032" y="41331"/>
                  </a:lnTo>
                  <a:lnTo>
                    <a:pt x="136109" y="41167"/>
                  </a:lnTo>
                  <a:lnTo>
                    <a:pt x="129589" y="3078"/>
                  </a:lnTo>
                  <a:lnTo>
                    <a:pt x="120026" y="3078"/>
                  </a:lnTo>
                  <a:lnTo>
                    <a:pt x="118551" y="3746"/>
                  </a:lnTo>
                  <a:cubicBezTo>
                    <a:pt x="116205" y="4922"/>
                    <a:pt x="113600" y="5486"/>
                    <a:pt x="110977" y="5384"/>
                  </a:cubicBezTo>
                  <a:cubicBezTo>
                    <a:pt x="106998" y="5232"/>
                    <a:pt x="105242" y="4577"/>
                    <a:pt x="101438" y="3804"/>
                  </a:cubicBezTo>
                  <a:cubicBezTo>
                    <a:pt x="99822" y="3465"/>
                    <a:pt x="98031" y="3008"/>
                    <a:pt x="95807" y="2634"/>
                  </a:cubicBezTo>
                  <a:cubicBezTo>
                    <a:pt x="87117" y="890"/>
                    <a:pt x="78276" y="8"/>
                    <a:pt x="69412" y="0"/>
                  </a:cubicBezTo>
                  <a:cubicBezTo>
                    <a:pt x="33945" y="0"/>
                    <a:pt x="5103" y="24710"/>
                    <a:pt x="5103" y="55096"/>
                  </a:cubicBezTo>
                  <a:cubicBezTo>
                    <a:pt x="5103" y="85846"/>
                    <a:pt x="34952" y="101917"/>
                    <a:pt x="63817" y="117415"/>
                  </a:cubicBezTo>
                  <a:cubicBezTo>
                    <a:pt x="88059" y="130455"/>
                    <a:pt x="110966" y="142804"/>
                    <a:pt x="110966" y="162094"/>
                  </a:cubicBezTo>
                  <a:cubicBezTo>
                    <a:pt x="110966" y="180249"/>
                    <a:pt x="94251" y="193944"/>
                    <a:pt x="72093" y="193944"/>
                  </a:cubicBezTo>
                  <a:cubicBezTo>
                    <a:pt x="41799" y="193944"/>
                    <a:pt x="23130" y="185177"/>
                    <a:pt x="15030" y="167174"/>
                  </a:cubicBezTo>
                  <a:lnTo>
                    <a:pt x="14327" y="165418"/>
                  </a:lnTo>
                  <a:lnTo>
                    <a:pt x="0" y="165418"/>
                  </a:lnTo>
                  <a:lnTo>
                    <a:pt x="6368" y="208283"/>
                  </a:lnTo>
                  <a:lnTo>
                    <a:pt x="17932" y="208283"/>
                  </a:lnTo>
                  <a:lnTo>
                    <a:pt x="18740" y="207510"/>
                  </a:lnTo>
                  <a:cubicBezTo>
                    <a:pt x="20461" y="205965"/>
                    <a:pt x="22603" y="205860"/>
                    <a:pt x="25997" y="205895"/>
                  </a:cubicBezTo>
                  <a:cubicBezTo>
                    <a:pt x="29392" y="205930"/>
                    <a:pt x="33313" y="206878"/>
                    <a:pt x="38393" y="208107"/>
                  </a:cubicBezTo>
                  <a:cubicBezTo>
                    <a:pt x="50154" y="211257"/>
                    <a:pt x="62270" y="212889"/>
                    <a:pt x="74445" y="212965"/>
                  </a:cubicBezTo>
                  <a:cubicBezTo>
                    <a:pt x="118328" y="212965"/>
                    <a:pt x="150167" y="187600"/>
                    <a:pt x="150167" y="152648"/>
                  </a:cubicBezTo>
                  <a:cubicBezTo>
                    <a:pt x="150167" y="117696"/>
                    <a:pt x="117052" y="100922"/>
                    <a:pt x="87930" y="86267"/>
                  </a:cubicBezTo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>
                <a:solidFill>
                  <a:schemeClr val="bg1"/>
                </a:solidFill>
              </a:endParaRPr>
            </a:p>
          </p:txBody>
        </p:sp>
        <p:sp>
          <p:nvSpPr>
            <p:cNvPr id="6" name="Freihandform: Form 5">
              <a:extLst>
                <a:ext uri="{FF2B5EF4-FFF2-40B4-BE49-F238E27FC236}">
                  <a16:creationId xmlns:a16="http://schemas.microsoft.com/office/drawing/2014/main" id="{24C5BA9F-1DAB-0988-BB56-856EAC5C7699}"/>
                </a:ext>
              </a:extLst>
            </p:cNvPr>
            <p:cNvSpPr/>
            <p:nvPr/>
          </p:nvSpPr>
          <p:spPr>
            <a:xfrm>
              <a:off x="10421346" y="335748"/>
              <a:ext cx="149780" cy="202570"/>
            </a:xfrm>
            <a:custGeom>
              <a:avLst/>
              <a:gdLst>
                <a:gd name="connsiteX0" fmla="*/ 10184 w 149780"/>
                <a:gd name="connsiteY0" fmla="*/ 176725 h 202570"/>
                <a:gd name="connsiteX1" fmla="*/ 2540 w 149780"/>
                <a:gd name="connsiteY1" fmla="*/ 187986 h 202570"/>
                <a:gd name="connsiteX2" fmla="*/ 0 w 149780"/>
                <a:gd name="connsiteY2" fmla="*/ 188232 h 202570"/>
                <a:gd name="connsiteX3" fmla="*/ 0 w 149780"/>
                <a:gd name="connsiteY3" fmla="*/ 202571 h 202570"/>
                <a:gd name="connsiteX4" fmla="*/ 144864 w 149780"/>
                <a:gd name="connsiteY4" fmla="*/ 202571 h 202570"/>
                <a:gd name="connsiteX5" fmla="*/ 149780 w 149780"/>
                <a:gd name="connsiteY5" fmla="*/ 162059 h 202570"/>
                <a:gd name="connsiteX6" fmla="*/ 134563 w 149780"/>
                <a:gd name="connsiteY6" fmla="*/ 162176 h 202570"/>
                <a:gd name="connsiteX7" fmla="*/ 133943 w 149780"/>
                <a:gd name="connsiteY7" fmla="*/ 164107 h 202570"/>
                <a:gd name="connsiteX8" fmla="*/ 101379 w 149780"/>
                <a:gd name="connsiteY8" fmla="*/ 182754 h 202570"/>
                <a:gd name="connsiteX9" fmla="*/ 64192 w 149780"/>
                <a:gd name="connsiteY9" fmla="*/ 182754 h 202570"/>
                <a:gd name="connsiteX10" fmla="*/ 49244 w 149780"/>
                <a:gd name="connsiteY10" fmla="*/ 162749 h 202570"/>
                <a:gd name="connsiteX11" fmla="*/ 49244 w 149780"/>
                <a:gd name="connsiteY11" fmla="*/ 107875 h 202570"/>
                <a:gd name="connsiteX12" fmla="*/ 89042 w 149780"/>
                <a:gd name="connsiteY12" fmla="*/ 107875 h 202570"/>
                <a:gd name="connsiteX13" fmla="*/ 107630 w 149780"/>
                <a:gd name="connsiteY13" fmla="*/ 118878 h 202570"/>
                <a:gd name="connsiteX14" fmla="*/ 108051 w 149780"/>
                <a:gd name="connsiteY14" fmla="*/ 121219 h 202570"/>
                <a:gd name="connsiteX15" fmla="*/ 122542 w 149780"/>
                <a:gd name="connsiteY15" fmla="*/ 121219 h 202570"/>
                <a:gd name="connsiteX16" fmla="*/ 122542 w 149780"/>
                <a:gd name="connsiteY16" fmla="*/ 75569 h 202570"/>
                <a:gd name="connsiteX17" fmla="*/ 108285 w 149780"/>
                <a:gd name="connsiteY17" fmla="*/ 75569 h 202570"/>
                <a:gd name="connsiteX18" fmla="*/ 107934 w 149780"/>
                <a:gd name="connsiteY18" fmla="*/ 77910 h 202570"/>
                <a:gd name="connsiteX19" fmla="*/ 89042 w 149780"/>
                <a:gd name="connsiteY19" fmla="*/ 88105 h 202570"/>
                <a:gd name="connsiteX20" fmla="*/ 49244 w 149780"/>
                <a:gd name="connsiteY20" fmla="*/ 88105 h 202570"/>
                <a:gd name="connsiteX21" fmla="*/ 49244 w 149780"/>
                <a:gd name="connsiteY21" fmla="*/ 19829 h 202570"/>
                <a:gd name="connsiteX22" fmla="*/ 102550 w 149780"/>
                <a:gd name="connsiteY22" fmla="*/ 19829 h 202570"/>
                <a:gd name="connsiteX23" fmla="*/ 124310 w 149780"/>
                <a:gd name="connsiteY23" fmla="*/ 34226 h 202570"/>
                <a:gd name="connsiteX24" fmla="*/ 124883 w 149780"/>
                <a:gd name="connsiteY24" fmla="*/ 36286 h 202570"/>
                <a:gd name="connsiteX25" fmla="*/ 140100 w 149780"/>
                <a:gd name="connsiteY25" fmla="*/ 36286 h 202570"/>
                <a:gd name="connsiteX26" fmla="*/ 137595 w 149780"/>
                <a:gd name="connsiteY26" fmla="*/ 0 h 202570"/>
                <a:gd name="connsiteX27" fmla="*/ 222 w 149780"/>
                <a:gd name="connsiteY27" fmla="*/ 0 h 202570"/>
                <a:gd name="connsiteX28" fmla="*/ 222 w 149780"/>
                <a:gd name="connsiteY28" fmla="*/ 14198 h 202570"/>
                <a:gd name="connsiteX29" fmla="*/ 2798 w 149780"/>
                <a:gd name="connsiteY29" fmla="*/ 14374 h 202570"/>
                <a:gd name="connsiteX30" fmla="*/ 10207 w 149780"/>
                <a:gd name="connsiteY30" fmla="*/ 32412 h 2025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149780" h="202570">
                  <a:moveTo>
                    <a:pt x="10184" y="176725"/>
                  </a:moveTo>
                  <a:cubicBezTo>
                    <a:pt x="9973" y="184626"/>
                    <a:pt x="9774" y="187260"/>
                    <a:pt x="2540" y="187986"/>
                  </a:cubicBezTo>
                  <a:lnTo>
                    <a:pt x="0" y="188232"/>
                  </a:lnTo>
                  <a:lnTo>
                    <a:pt x="0" y="202571"/>
                  </a:lnTo>
                  <a:lnTo>
                    <a:pt x="144864" y="202571"/>
                  </a:lnTo>
                  <a:lnTo>
                    <a:pt x="149780" y="162059"/>
                  </a:lnTo>
                  <a:lnTo>
                    <a:pt x="134563" y="162176"/>
                  </a:lnTo>
                  <a:lnTo>
                    <a:pt x="133943" y="164107"/>
                  </a:lnTo>
                  <a:cubicBezTo>
                    <a:pt x="127927" y="182964"/>
                    <a:pt x="121734" y="182906"/>
                    <a:pt x="101379" y="182754"/>
                  </a:cubicBezTo>
                  <a:lnTo>
                    <a:pt x="64192" y="182754"/>
                  </a:lnTo>
                  <a:cubicBezTo>
                    <a:pt x="49654" y="182754"/>
                    <a:pt x="49244" y="179909"/>
                    <a:pt x="49244" y="162749"/>
                  </a:cubicBezTo>
                  <a:lnTo>
                    <a:pt x="49244" y="107875"/>
                  </a:lnTo>
                  <a:lnTo>
                    <a:pt x="89042" y="107875"/>
                  </a:lnTo>
                  <a:cubicBezTo>
                    <a:pt x="102292" y="107875"/>
                    <a:pt x="105066" y="108168"/>
                    <a:pt x="107630" y="118878"/>
                  </a:cubicBezTo>
                  <a:lnTo>
                    <a:pt x="108051" y="121219"/>
                  </a:lnTo>
                  <a:lnTo>
                    <a:pt x="122542" y="121219"/>
                  </a:lnTo>
                  <a:lnTo>
                    <a:pt x="122542" y="75569"/>
                  </a:lnTo>
                  <a:lnTo>
                    <a:pt x="108285" y="75569"/>
                  </a:lnTo>
                  <a:lnTo>
                    <a:pt x="107934" y="77910"/>
                  </a:lnTo>
                  <a:cubicBezTo>
                    <a:pt x="106248" y="87368"/>
                    <a:pt x="103158" y="88105"/>
                    <a:pt x="89042" y="88105"/>
                  </a:cubicBezTo>
                  <a:lnTo>
                    <a:pt x="49244" y="88105"/>
                  </a:lnTo>
                  <a:lnTo>
                    <a:pt x="49244" y="19829"/>
                  </a:lnTo>
                  <a:lnTo>
                    <a:pt x="102550" y="19829"/>
                  </a:lnTo>
                  <a:cubicBezTo>
                    <a:pt x="116233" y="19829"/>
                    <a:pt x="120716" y="19829"/>
                    <a:pt x="124310" y="34226"/>
                  </a:cubicBezTo>
                  <a:lnTo>
                    <a:pt x="124883" y="36286"/>
                  </a:lnTo>
                  <a:lnTo>
                    <a:pt x="140100" y="36286"/>
                  </a:lnTo>
                  <a:lnTo>
                    <a:pt x="137595" y="0"/>
                  </a:lnTo>
                  <a:lnTo>
                    <a:pt x="222" y="0"/>
                  </a:lnTo>
                  <a:lnTo>
                    <a:pt x="222" y="14198"/>
                  </a:lnTo>
                  <a:lnTo>
                    <a:pt x="2798" y="14374"/>
                  </a:lnTo>
                  <a:cubicBezTo>
                    <a:pt x="10102" y="15252"/>
                    <a:pt x="10113" y="17886"/>
                    <a:pt x="10207" y="32412"/>
                  </a:cubicBez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>
                <a:solidFill>
                  <a:schemeClr val="bg1"/>
                </a:solidFill>
              </a:endParaRPr>
            </a:p>
          </p:txBody>
        </p:sp>
        <p:sp>
          <p:nvSpPr>
            <p:cNvPr id="7" name="Freihandform: Form 6">
              <a:extLst>
                <a:ext uri="{FF2B5EF4-FFF2-40B4-BE49-F238E27FC236}">
                  <a16:creationId xmlns:a16="http://schemas.microsoft.com/office/drawing/2014/main" id="{268910D7-795A-201D-D128-DA579F31EAC1}"/>
                </a:ext>
              </a:extLst>
            </p:cNvPr>
            <p:cNvSpPr/>
            <p:nvPr/>
          </p:nvSpPr>
          <p:spPr>
            <a:xfrm>
              <a:off x="11496262" y="332657"/>
              <a:ext cx="216465" cy="208540"/>
            </a:xfrm>
            <a:custGeom>
              <a:avLst/>
              <a:gdLst>
                <a:gd name="connsiteX0" fmla="*/ 145742 w 216465"/>
                <a:gd name="connsiteY0" fmla="*/ 131087 h 208540"/>
                <a:gd name="connsiteX1" fmla="*/ 125609 w 216465"/>
                <a:gd name="connsiteY1" fmla="*/ 111902 h 208540"/>
                <a:gd name="connsiteX2" fmla="*/ 162609 w 216465"/>
                <a:gd name="connsiteY2" fmla="*/ 59556 h 208540"/>
                <a:gd name="connsiteX3" fmla="*/ 74738 w 216465"/>
                <a:gd name="connsiteY3" fmla="*/ 0 h 208540"/>
                <a:gd name="connsiteX4" fmla="*/ 36321 w 216465"/>
                <a:gd name="connsiteY4" fmla="*/ 632 h 208540"/>
                <a:gd name="connsiteX5" fmla="*/ 15147 w 216465"/>
                <a:gd name="connsiteY5" fmla="*/ 1662 h 208540"/>
                <a:gd name="connsiteX6" fmla="*/ 6450 w 216465"/>
                <a:gd name="connsiteY6" fmla="*/ 2247 h 208540"/>
                <a:gd name="connsiteX7" fmla="*/ 6450 w 216465"/>
                <a:gd name="connsiteY7" fmla="*/ 16586 h 208540"/>
                <a:gd name="connsiteX8" fmla="*/ 8978 w 216465"/>
                <a:gd name="connsiteY8" fmla="*/ 16703 h 208540"/>
                <a:gd name="connsiteX9" fmla="*/ 17698 w 216465"/>
                <a:gd name="connsiteY9" fmla="*/ 25061 h 208540"/>
                <a:gd name="connsiteX10" fmla="*/ 17581 w 216465"/>
                <a:gd name="connsiteY10" fmla="*/ 173413 h 208540"/>
                <a:gd name="connsiteX11" fmla="*/ 2669 w 216465"/>
                <a:gd name="connsiteY11" fmla="*/ 191486 h 208540"/>
                <a:gd name="connsiteX12" fmla="*/ 0 w 216465"/>
                <a:gd name="connsiteY12" fmla="*/ 191626 h 208540"/>
                <a:gd name="connsiteX13" fmla="*/ 0 w 216465"/>
                <a:gd name="connsiteY13" fmla="*/ 205672 h 208540"/>
                <a:gd name="connsiteX14" fmla="*/ 76435 w 216465"/>
                <a:gd name="connsiteY14" fmla="*/ 205672 h 208540"/>
                <a:gd name="connsiteX15" fmla="*/ 76435 w 216465"/>
                <a:gd name="connsiteY15" fmla="*/ 191544 h 208540"/>
                <a:gd name="connsiteX16" fmla="*/ 73790 w 216465"/>
                <a:gd name="connsiteY16" fmla="*/ 191544 h 208540"/>
                <a:gd name="connsiteX17" fmla="*/ 58374 w 216465"/>
                <a:gd name="connsiteY17" fmla="*/ 164353 h 208540"/>
                <a:gd name="connsiteX18" fmla="*/ 58374 w 216465"/>
                <a:gd name="connsiteY18" fmla="*/ 124192 h 208540"/>
                <a:gd name="connsiteX19" fmla="*/ 82651 w 216465"/>
                <a:gd name="connsiteY19" fmla="*/ 123982 h 208540"/>
                <a:gd name="connsiteX20" fmla="*/ 115425 w 216465"/>
                <a:gd name="connsiteY20" fmla="*/ 153526 h 208540"/>
                <a:gd name="connsiteX21" fmla="*/ 132035 w 216465"/>
                <a:gd name="connsiteY21" fmla="*/ 170276 h 208540"/>
                <a:gd name="connsiteX22" fmla="*/ 141926 w 216465"/>
                <a:gd name="connsiteY22" fmla="*/ 180612 h 208540"/>
                <a:gd name="connsiteX23" fmla="*/ 148797 w 216465"/>
                <a:gd name="connsiteY23" fmla="*/ 188232 h 208540"/>
                <a:gd name="connsiteX24" fmla="*/ 201798 w 216465"/>
                <a:gd name="connsiteY24" fmla="*/ 208540 h 208540"/>
                <a:gd name="connsiteX25" fmla="*/ 213281 w 216465"/>
                <a:gd name="connsiteY25" fmla="*/ 208376 h 208540"/>
                <a:gd name="connsiteX26" fmla="*/ 216465 w 216465"/>
                <a:gd name="connsiteY26" fmla="*/ 208306 h 208540"/>
                <a:gd name="connsiteX27" fmla="*/ 216465 w 216465"/>
                <a:gd name="connsiteY27" fmla="*/ 194201 h 208540"/>
                <a:gd name="connsiteX28" fmla="*/ 213504 w 216465"/>
                <a:gd name="connsiteY28" fmla="*/ 193932 h 208540"/>
                <a:gd name="connsiteX29" fmla="*/ 213504 w 216465"/>
                <a:gd name="connsiteY29" fmla="*/ 193932 h 208540"/>
                <a:gd name="connsiteX30" fmla="*/ 190316 w 216465"/>
                <a:gd name="connsiteY30" fmla="*/ 177159 h 208540"/>
                <a:gd name="connsiteX31" fmla="*/ 171131 w 216465"/>
                <a:gd name="connsiteY31" fmla="*/ 156967 h 208540"/>
                <a:gd name="connsiteX32" fmla="*/ 119031 w 216465"/>
                <a:gd name="connsiteY32" fmla="*/ 62728 h 208540"/>
                <a:gd name="connsiteX33" fmla="*/ 65713 w 216465"/>
                <a:gd name="connsiteY33" fmla="*/ 110041 h 208540"/>
                <a:gd name="connsiteX34" fmla="*/ 58397 w 216465"/>
                <a:gd name="connsiteY34" fmla="*/ 109725 h 208540"/>
                <a:gd name="connsiteX35" fmla="*/ 58397 w 216465"/>
                <a:gd name="connsiteY35" fmla="*/ 15334 h 208540"/>
                <a:gd name="connsiteX36" fmla="*/ 71542 w 216465"/>
                <a:gd name="connsiteY36" fmla="*/ 15182 h 208540"/>
                <a:gd name="connsiteX37" fmla="*/ 119031 w 216465"/>
                <a:gd name="connsiteY37" fmla="*/ 62728 h 2085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16465" h="208540">
                  <a:moveTo>
                    <a:pt x="145742" y="131087"/>
                  </a:moveTo>
                  <a:cubicBezTo>
                    <a:pt x="143541" y="128874"/>
                    <a:pt x="132632" y="117930"/>
                    <a:pt x="125609" y="111902"/>
                  </a:cubicBezTo>
                  <a:cubicBezTo>
                    <a:pt x="150190" y="100325"/>
                    <a:pt x="162609" y="82721"/>
                    <a:pt x="162609" y="59556"/>
                  </a:cubicBezTo>
                  <a:cubicBezTo>
                    <a:pt x="162609" y="41647"/>
                    <a:pt x="154053" y="0"/>
                    <a:pt x="74738" y="0"/>
                  </a:cubicBezTo>
                  <a:cubicBezTo>
                    <a:pt x="68242" y="0"/>
                    <a:pt x="53037" y="0"/>
                    <a:pt x="36321" y="632"/>
                  </a:cubicBezTo>
                  <a:cubicBezTo>
                    <a:pt x="26243" y="1077"/>
                    <a:pt x="20332" y="1393"/>
                    <a:pt x="15147" y="1662"/>
                  </a:cubicBezTo>
                  <a:lnTo>
                    <a:pt x="6450" y="2247"/>
                  </a:lnTo>
                  <a:lnTo>
                    <a:pt x="6450" y="16586"/>
                  </a:lnTo>
                  <a:lnTo>
                    <a:pt x="8978" y="16703"/>
                  </a:lnTo>
                  <a:cubicBezTo>
                    <a:pt x="15240" y="17160"/>
                    <a:pt x="17616" y="18787"/>
                    <a:pt x="17698" y="25061"/>
                  </a:cubicBezTo>
                  <a:lnTo>
                    <a:pt x="17581" y="173413"/>
                  </a:lnTo>
                  <a:cubicBezTo>
                    <a:pt x="17195" y="185715"/>
                    <a:pt x="16411" y="190842"/>
                    <a:pt x="2669" y="191486"/>
                  </a:cubicBezTo>
                  <a:lnTo>
                    <a:pt x="0" y="191626"/>
                  </a:lnTo>
                  <a:lnTo>
                    <a:pt x="0" y="205672"/>
                  </a:lnTo>
                  <a:lnTo>
                    <a:pt x="76435" y="205672"/>
                  </a:lnTo>
                  <a:lnTo>
                    <a:pt x="76435" y="191544"/>
                  </a:lnTo>
                  <a:lnTo>
                    <a:pt x="73790" y="191544"/>
                  </a:lnTo>
                  <a:cubicBezTo>
                    <a:pt x="58362" y="190783"/>
                    <a:pt x="58374" y="187260"/>
                    <a:pt x="58374" y="164353"/>
                  </a:cubicBezTo>
                  <a:lnTo>
                    <a:pt x="58374" y="124192"/>
                  </a:lnTo>
                  <a:cubicBezTo>
                    <a:pt x="66462" y="124664"/>
                    <a:pt x="74574" y="124593"/>
                    <a:pt x="82651" y="123982"/>
                  </a:cubicBezTo>
                  <a:cubicBezTo>
                    <a:pt x="95000" y="133205"/>
                    <a:pt x="99635" y="137583"/>
                    <a:pt x="115425" y="153526"/>
                  </a:cubicBezTo>
                  <a:lnTo>
                    <a:pt x="132035" y="170276"/>
                  </a:lnTo>
                  <a:cubicBezTo>
                    <a:pt x="135804" y="174092"/>
                    <a:pt x="139058" y="177556"/>
                    <a:pt x="141926" y="180612"/>
                  </a:cubicBezTo>
                  <a:cubicBezTo>
                    <a:pt x="144525" y="183374"/>
                    <a:pt x="146784" y="185949"/>
                    <a:pt x="148797" y="188232"/>
                  </a:cubicBezTo>
                  <a:cubicBezTo>
                    <a:pt x="161087" y="202173"/>
                    <a:pt x="166706" y="208540"/>
                    <a:pt x="201798" y="208540"/>
                  </a:cubicBezTo>
                  <a:cubicBezTo>
                    <a:pt x="205310" y="208540"/>
                    <a:pt x="209044" y="208540"/>
                    <a:pt x="213281" y="208376"/>
                  </a:cubicBezTo>
                  <a:lnTo>
                    <a:pt x="216465" y="208306"/>
                  </a:lnTo>
                  <a:lnTo>
                    <a:pt x="216465" y="194201"/>
                  </a:lnTo>
                  <a:lnTo>
                    <a:pt x="213504" y="193932"/>
                  </a:lnTo>
                  <a:lnTo>
                    <a:pt x="213504" y="193932"/>
                  </a:lnTo>
                  <a:cubicBezTo>
                    <a:pt x="205228" y="193160"/>
                    <a:pt x="200253" y="187810"/>
                    <a:pt x="190316" y="177159"/>
                  </a:cubicBezTo>
                  <a:lnTo>
                    <a:pt x="171131" y="156967"/>
                  </a:lnTo>
                  <a:close/>
                  <a:moveTo>
                    <a:pt x="119031" y="62728"/>
                  </a:moveTo>
                  <a:cubicBezTo>
                    <a:pt x="119031" y="95210"/>
                    <a:pt x="104247" y="108554"/>
                    <a:pt x="65713" y="110041"/>
                  </a:cubicBezTo>
                  <a:cubicBezTo>
                    <a:pt x="64543" y="110041"/>
                    <a:pt x="61195" y="110041"/>
                    <a:pt x="58397" y="109725"/>
                  </a:cubicBezTo>
                  <a:lnTo>
                    <a:pt x="58397" y="15334"/>
                  </a:lnTo>
                  <a:cubicBezTo>
                    <a:pt x="62225" y="15182"/>
                    <a:pt x="68101" y="15182"/>
                    <a:pt x="71542" y="15182"/>
                  </a:cubicBezTo>
                  <a:cubicBezTo>
                    <a:pt x="103193" y="15170"/>
                    <a:pt x="119031" y="31159"/>
                    <a:pt x="119031" y="62728"/>
                  </a:cubicBez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>
                <a:solidFill>
                  <a:schemeClr val="bg1"/>
                </a:solidFill>
              </a:endParaRPr>
            </a:p>
          </p:txBody>
        </p:sp>
        <p:sp>
          <p:nvSpPr>
            <p:cNvPr id="8" name="Freihandform: Form 7">
              <a:extLst>
                <a:ext uri="{FF2B5EF4-FFF2-40B4-BE49-F238E27FC236}">
                  <a16:creationId xmlns:a16="http://schemas.microsoft.com/office/drawing/2014/main" id="{F85DC581-2093-7FE7-3F79-4653E2268700}"/>
                </a:ext>
              </a:extLst>
            </p:cNvPr>
            <p:cNvSpPr/>
            <p:nvPr/>
          </p:nvSpPr>
          <p:spPr>
            <a:xfrm>
              <a:off x="10830304" y="335724"/>
              <a:ext cx="207171" cy="202652"/>
            </a:xfrm>
            <a:custGeom>
              <a:avLst/>
              <a:gdLst>
                <a:gd name="connsiteX0" fmla="*/ 121430 w 207171"/>
                <a:gd name="connsiteY0" fmla="*/ 0 h 202652"/>
                <a:gd name="connsiteX1" fmla="*/ 90762 w 207171"/>
                <a:gd name="connsiteY1" fmla="*/ 0 h 202652"/>
                <a:gd name="connsiteX2" fmla="*/ 24979 w 207171"/>
                <a:gd name="connsiteY2" fmla="*/ 164529 h 202652"/>
                <a:gd name="connsiteX3" fmla="*/ 2610 w 207171"/>
                <a:gd name="connsiteY3" fmla="*/ 188431 h 202652"/>
                <a:gd name="connsiteX4" fmla="*/ 0 w 207171"/>
                <a:gd name="connsiteY4" fmla="*/ 188606 h 202652"/>
                <a:gd name="connsiteX5" fmla="*/ 0 w 207171"/>
                <a:gd name="connsiteY5" fmla="*/ 202652 h 202652"/>
                <a:gd name="connsiteX6" fmla="*/ 56735 w 207171"/>
                <a:gd name="connsiteY6" fmla="*/ 202652 h 202652"/>
                <a:gd name="connsiteX7" fmla="*/ 56735 w 207171"/>
                <a:gd name="connsiteY7" fmla="*/ 188712 h 202652"/>
                <a:gd name="connsiteX8" fmla="*/ 54184 w 207171"/>
                <a:gd name="connsiteY8" fmla="*/ 188489 h 202652"/>
                <a:gd name="connsiteX9" fmla="*/ 41530 w 207171"/>
                <a:gd name="connsiteY9" fmla="*/ 178879 h 202652"/>
                <a:gd name="connsiteX10" fmla="*/ 44562 w 207171"/>
                <a:gd name="connsiteY10" fmla="*/ 167478 h 202652"/>
                <a:gd name="connsiteX11" fmla="*/ 59779 w 207171"/>
                <a:gd name="connsiteY11" fmla="*/ 128196 h 202652"/>
                <a:gd name="connsiteX12" fmla="*/ 129706 w 207171"/>
                <a:gd name="connsiteY12" fmla="*/ 128196 h 202652"/>
                <a:gd name="connsiteX13" fmla="*/ 144923 w 207171"/>
                <a:gd name="connsiteY13" fmla="*/ 167385 h 202652"/>
                <a:gd name="connsiteX14" fmla="*/ 148844 w 207171"/>
                <a:gd name="connsiteY14" fmla="*/ 179734 h 202652"/>
                <a:gd name="connsiteX15" fmla="*/ 148937 w 207171"/>
                <a:gd name="connsiteY15" fmla="*/ 180202 h 202652"/>
                <a:gd name="connsiteX16" fmla="*/ 147896 w 207171"/>
                <a:gd name="connsiteY16" fmla="*/ 184802 h 202652"/>
                <a:gd name="connsiteX17" fmla="*/ 136577 w 207171"/>
                <a:gd name="connsiteY17" fmla="*/ 188243 h 202652"/>
                <a:gd name="connsiteX18" fmla="*/ 134002 w 207171"/>
                <a:gd name="connsiteY18" fmla="*/ 188442 h 202652"/>
                <a:gd name="connsiteX19" fmla="*/ 134002 w 207171"/>
                <a:gd name="connsiteY19" fmla="*/ 202606 h 202652"/>
                <a:gd name="connsiteX20" fmla="*/ 207171 w 207171"/>
                <a:gd name="connsiteY20" fmla="*/ 202606 h 202652"/>
                <a:gd name="connsiteX21" fmla="*/ 207171 w 207171"/>
                <a:gd name="connsiteY21" fmla="*/ 188700 h 202652"/>
                <a:gd name="connsiteX22" fmla="*/ 204502 w 207171"/>
                <a:gd name="connsiteY22" fmla="*/ 188559 h 202652"/>
                <a:gd name="connsiteX23" fmla="*/ 184603 w 207171"/>
                <a:gd name="connsiteY23" fmla="*/ 167759 h 202652"/>
                <a:gd name="connsiteX24" fmla="*/ 121641 w 207171"/>
                <a:gd name="connsiteY24" fmla="*/ 107161 h 202652"/>
                <a:gd name="connsiteX25" fmla="*/ 67797 w 207171"/>
                <a:gd name="connsiteY25" fmla="*/ 107161 h 202652"/>
                <a:gd name="connsiteX26" fmla="*/ 95140 w 207171"/>
                <a:gd name="connsiteY26" fmla="*/ 37012 h 2026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207171" h="202652">
                  <a:moveTo>
                    <a:pt x="121430" y="0"/>
                  </a:moveTo>
                  <a:lnTo>
                    <a:pt x="90762" y="0"/>
                  </a:lnTo>
                  <a:lnTo>
                    <a:pt x="24979" y="164529"/>
                  </a:lnTo>
                  <a:cubicBezTo>
                    <a:pt x="17172" y="183994"/>
                    <a:pt x="15755" y="187506"/>
                    <a:pt x="2610" y="188431"/>
                  </a:cubicBezTo>
                  <a:lnTo>
                    <a:pt x="0" y="188606"/>
                  </a:lnTo>
                  <a:lnTo>
                    <a:pt x="0" y="202652"/>
                  </a:lnTo>
                  <a:lnTo>
                    <a:pt x="56735" y="202652"/>
                  </a:lnTo>
                  <a:lnTo>
                    <a:pt x="56735" y="188712"/>
                  </a:lnTo>
                  <a:lnTo>
                    <a:pt x="54184" y="188489"/>
                  </a:lnTo>
                  <a:cubicBezTo>
                    <a:pt x="43649" y="187319"/>
                    <a:pt x="41202" y="183315"/>
                    <a:pt x="41530" y="178879"/>
                  </a:cubicBezTo>
                  <a:cubicBezTo>
                    <a:pt x="41741" y="176105"/>
                    <a:pt x="42572" y="172839"/>
                    <a:pt x="44562" y="167478"/>
                  </a:cubicBezTo>
                  <a:lnTo>
                    <a:pt x="59779" y="128196"/>
                  </a:lnTo>
                  <a:lnTo>
                    <a:pt x="129706" y="128196"/>
                  </a:lnTo>
                  <a:lnTo>
                    <a:pt x="144923" y="167385"/>
                  </a:lnTo>
                  <a:cubicBezTo>
                    <a:pt x="147369" y="174326"/>
                    <a:pt x="147907" y="175672"/>
                    <a:pt x="148844" y="179734"/>
                  </a:cubicBezTo>
                  <a:lnTo>
                    <a:pt x="148937" y="180202"/>
                  </a:lnTo>
                  <a:cubicBezTo>
                    <a:pt x="149324" y="181814"/>
                    <a:pt x="148939" y="183513"/>
                    <a:pt x="147896" y="184802"/>
                  </a:cubicBezTo>
                  <a:cubicBezTo>
                    <a:pt x="146421" y="186651"/>
                    <a:pt x="142780" y="187763"/>
                    <a:pt x="136577" y="188243"/>
                  </a:cubicBezTo>
                  <a:lnTo>
                    <a:pt x="134002" y="188442"/>
                  </a:lnTo>
                  <a:lnTo>
                    <a:pt x="134002" y="202606"/>
                  </a:lnTo>
                  <a:lnTo>
                    <a:pt x="207171" y="202606"/>
                  </a:lnTo>
                  <a:lnTo>
                    <a:pt x="207171" y="188700"/>
                  </a:lnTo>
                  <a:lnTo>
                    <a:pt x="204502" y="188559"/>
                  </a:lnTo>
                  <a:cubicBezTo>
                    <a:pt x="191989" y="187986"/>
                    <a:pt x="190854" y="184896"/>
                    <a:pt x="184603" y="167759"/>
                  </a:cubicBezTo>
                  <a:close/>
                  <a:moveTo>
                    <a:pt x="121641" y="107161"/>
                  </a:moveTo>
                  <a:lnTo>
                    <a:pt x="67797" y="107161"/>
                  </a:lnTo>
                  <a:lnTo>
                    <a:pt x="95140" y="37012"/>
                  </a:ln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>
                <a:solidFill>
                  <a:schemeClr val="bg1"/>
                </a:solidFill>
              </a:endParaRPr>
            </a:p>
          </p:txBody>
        </p:sp>
        <p:sp>
          <p:nvSpPr>
            <p:cNvPr id="10" name="Freihandform: Form 9">
              <a:extLst>
                <a:ext uri="{FF2B5EF4-FFF2-40B4-BE49-F238E27FC236}">
                  <a16:creationId xmlns:a16="http://schemas.microsoft.com/office/drawing/2014/main" id="{E305E9E3-2923-AF80-9675-435CBD4A7CA2}"/>
                </a:ext>
              </a:extLst>
            </p:cNvPr>
            <p:cNvSpPr/>
            <p:nvPr/>
          </p:nvSpPr>
          <p:spPr>
            <a:xfrm>
              <a:off x="11256925" y="330434"/>
              <a:ext cx="218794" cy="212964"/>
            </a:xfrm>
            <a:custGeom>
              <a:avLst/>
              <a:gdLst>
                <a:gd name="connsiteX0" fmla="*/ 109397 w 218794"/>
                <a:gd name="connsiteY0" fmla="*/ 0 h 212964"/>
                <a:gd name="connsiteX1" fmla="*/ 0 w 218794"/>
                <a:gd name="connsiteY1" fmla="*/ 111878 h 212964"/>
                <a:gd name="connsiteX2" fmla="*/ 108227 w 218794"/>
                <a:gd name="connsiteY2" fmla="*/ 212965 h 212964"/>
                <a:gd name="connsiteX3" fmla="*/ 218794 w 218794"/>
                <a:gd name="connsiteY3" fmla="*/ 102994 h 212964"/>
                <a:gd name="connsiteX4" fmla="*/ 109397 w 218794"/>
                <a:gd name="connsiteY4" fmla="*/ 0 h 212964"/>
                <a:gd name="connsiteX5" fmla="*/ 177861 w 218794"/>
                <a:gd name="connsiteY5" fmla="*/ 110919 h 212964"/>
                <a:gd name="connsiteX6" fmla="*/ 112897 w 218794"/>
                <a:gd name="connsiteY6" fmla="*/ 197210 h 212964"/>
                <a:gd name="connsiteX7" fmla="*/ 40945 w 218794"/>
                <a:gd name="connsiteY7" fmla="*/ 103310 h 212964"/>
                <a:gd name="connsiteX8" fmla="*/ 107056 w 218794"/>
                <a:gd name="connsiteY8" fmla="*/ 15744 h 212964"/>
                <a:gd name="connsiteX9" fmla="*/ 177861 w 218794"/>
                <a:gd name="connsiteY9" fmla="*/ 110919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18794" h="212964">
                  <a:moveTo>
                    <a:pt x="109397" y="0"/>
                  </a:moveTo>
                  <a:cubicBezTo>
                    <a:pt x="45966" y="0"/>
                    <a:pt x="0" y="47043"/>
                    <a:pt x="0" y="111878"/>
                  </a:cubicBezTo>
                  <a:cubicBezTo>
                    <a:pt x="0" y="170405"/>
                    <a:pt x="45522" y="212965"/>
                    <a:pt x="108227" y="212965"/>
                  </a:cubicBezTo>
                  <a:cubicBezTo>
                    <a:pt x="171259" y="212965"/>
                    <a:pt x="218794" y="165687"/>
                    <a:pt x="218794" y="102994"/>
                  </a:cubicBezTo>
                  <a:cubicBezTo>
                    <a:pt x="218794" y="42349"/>
                    <a:pt x="173811" y="0"/>
                    <a:pt x="109397" y="0"/>
                  </a:cubicBezTo>
                  <a:close/>
                  <a:moveTo>
                    <a:pt x="177861" y="110919"/>
                  </a:moveTo>
                  <a:cubicBezTo>
                    <a:pt x="177861" y="162539"/>
                    <a:pt x="151758" y="197210"/>
                    <a:pt x="112897" y="197210"/>
                  </a:cubicBezTo>
                  <a:cubicBezTo>
                    <a:pt x="77138" y="197210"/>
                    <a:pt x="40945" y="164950"/>
                    <a:pt x="40945" y="103310"/>
                  </a:cubicBezTo>
                  <a:cubicBezTo>
                    <a:pt x="40945" y="49302"/>
                    <a:pt x="66275" y="15744"/>
                    <a:pt x="107056" y="15744"/>
                  </a:cubicBezTo>
                  <a:cubicBezTo>
                    <a:pt x="148738" y="15744"/>
                    <a:pt x="177861" y="54886"/>
                    <a:pt x="177861" y="110919"/>
                  </a:cubicBez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>
                <a:solidFill>
                  <a:schemeClr val="bg1"/>
                </a:solidFill>
              </a:endParaRPr>
            </a:p>
          </p:txBody>
        </p:sp>
        <p:sp>
          <p:nvSpPr>
            <p:cNvPr id="11" name="Freihandform: Form 10">
              <a:extLst>
                <a:ext uri="{FF2B5EF4-FFF2-40B4-BE49-F238E27FC236}">
                  <a16:creationId xmlns:a16="http://schemas.microsoft.com/office/drawing/2014/main" id="{C9B26E17-3E17-7697-95DC-6CC4AE123A1D}"/>
                </a:ext>
              </a:extLst>
            </p:cNvPr>
            <p:cNvSpPr/>
            <p:nvPr/>
          </p:nvSpPr>
          <p:spPr>
            <a:xfrm>
              <a:off x="11045727" y="330434"/>
              <a:ext cx="196811" cy="212964"/>
            </a:xfrm>
            <a:custGeom>
              <a:avLst/>
              <a:gdLst>
                <a:gd name="connsiteX0" fmla="*/ 196812 w 196811"/>
                <a:gd name="connsiteY0" fmla="*/ 165348 h 212964"/>
                <a:gd name="connsiteX1" fmla="*/ 180635 w 196811"/>
                <a:gd name="connsiteY1" fmla="*/ 165547 h 212964"/>
                <a:gd name="connsiteX2" fmla="*/ 179828 w 196811"/>
                <a:gd name="connsiteY2" fmla="*/ 166659 h 212964"/>
                <a:gd name="connsiteX3" fmla="*/ 118960 w 196811"/>
                <a:gd name="connsiteY3" fmla="*/ 195922 h 212964"/>
                <a:gd name="connsiteX4" fmla="*/ 70255 w 196811"/>
                <a:gd name="connsiteY4" fmla="*/ 176585 h 212964"/>
                <a:gd name="connsiteX5" fmla="*/ 41729 w 196811"/>
                <a:gd name="connsiteY5" fmla="*/ 102023 h 212964"/>
                <a:gd name="connsiteX6" fmla="*/ 113623 w 196811"/>
                <a:gd name="connsiteY6" fmla="*/ 15720 h 212964"/>
                <a:gd name="connsiteX7" fmla="*/ 179359 w 196811"/>
                <a:gd name="connsiteY7" fmla="*/ 50391 h 212964"/>
                <a:gd name="connsiteX8" fmla="*/ 180155 w 196811"/>
                <a:gd name="connsiteY8" fmla="*/ 51959 h 212964"/>
                <a:gd name="connsiteX9" fmla="*/ 193558 w 196811"/>
                <a:gd name="connsiteY9" fmla="*/ 51749 h 212964"/>
                <a:gd name="connsiteX10" fmla="*/ 192259 w 196811"/>
                <a:gd name="connsiteY10" fmla="*/ 9142 h 212964"/>
                <a:gd name="connsiteX11" fmla="*/ 181267 w 196811"/>
                <a:gd name="connsiteY11" fmla="*/ 9142 h 212964"/>
                <a:gd name="connsiteX12" fmla="*/ 180694 w 196811"/>
                <a:gd name="connsiteY12" fmla="*/ 9528 h 212964"/>
                <a:gd name="connsiteX13" fmla="*/ 176515 w 196811"/>
                <a:gd name="connsiteY13" fmla="*/ 10453 h 212964"/>
                <a:gd name="connsiteX14" fmla="*/ 163768 w 196811"/>
                <a:gd name="connsiteY14" fmla="*/ 7761 h 212964"/>
                <a:gd name="connsiteX15" fmla="*/ 112441 w 196811"/>
                <a:gd name="connsiteY15" fmla="*/ 0 h 212964"/>
                <a:gd name="connsiteX16" fmla="*/ 0 w 196811"/>
                <a:gd name="connsiteY16" fmla="*/ 110275 h 212964"/>
                <a:gd name="connsiteX17" fmla="*/ 110029 w 196811"/>
                <a:gd name="connsiteY17" fmla="*/ 212965 h 212964"/>
                <a:gd name="connsiteX18" fmla="*/ 149382 w 196811"/>
                <a:gd name="connsiteY18" fmla="*/ 208411 h 212964"/>
                <a:gd name="connsiteX19" fmla="*/ 169808 w 196811"/>
                <a:gd name="connsiteY19" fmla="*/ 205661 h 212964"/>
                <a:gd name="connsiteX20" fmla="*/ 172804 w 196811"/>
                <a:gd name="connsiteY20" fmla="*/ 205567 h 212964"/>
                <a:gd name="connsiteX21" fmla="*/ 179406 w 196811"/>
                <a:gd name="connsiteY21" fmla="*/ 205719 h 212964"/>
                <a:gd name="connsiteX22" fmla="*/ 182414 w 196811"/>
                <a:gd name="connsiteY22" fmla="*/ 206012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96811" h="212964">
                  <a:moveTo>
                    <a:pt x="196812" y="165348"/>
                  </a:moveTo>
                  <a:lnTo>
                    <a:pt x="180635" y="165547"/>
                  </a:lnTo>
                  <a:lnTo>
                    <a:pt x="179828" y="166659"/>
                  </a:lnTo>
                  <a:cubicBezTo>
                    <a:pt x="163440" y="186839"/>
                    <a:pt x="146315" y="195044"/>
                    <a:pt x="118960" y="195922"/>
                  </a:cubicBezTo>
                  <a:cubicBezTo>
                    <a:pt x="100712" y="196577"/>
                    <a:pt x="83927" y="189824"/>
                    <a:pt x="70255" y="176585"/>
                  </a:cubicBezTo>
                  <a:cubicBezTo>
                    <a:pt x="52123" y="159027"/>
                    <a:pt x="41729" y="131859"/>
                    <a:pt x="41729" y="102023"/>
                  </a:cubicBezTo>
                  <a:cubicBezTo>
                    <a:pt x="41729" y="50403"/>
                    <a:pt x="70618" y="15720"/>
                    <a:pt x="113623" y="15720"/>
                  </a:cubicBezTo>
                  <a:cubicBezTo>
                    <a:pt x="143799" y="15720"/>
                    <a:pt x="168989" y="28994"/>
                    <a:pt x="179359" y="50391"/>
                  </a:cubicBezTo>
                  <a:lnTo>
                    <a:pt x="180155" y="51959"/>
                  </a:lnTo>
                  <a:lnTo>
                    <a:pt x="193558" y="51749"/>
                  </a:lnTo>
                  <a:lnTo>
                    <a:pt x="192259" y="9142"/>
                  </a:lnTo>
                  <a:lnTo>
                    <a:pt x="181267" y="9142"/>
                  </a:lnTo>
                  <a:lnTo>
                    <a:pt x="180694" y="9528"/>
                  </a:lnTo>
                  <a:cubicBezTo>
                    <a:pt x="179431" y="10264"/>
                    <a:pt x="177970" y="10587"/>
                    <a:pt x="176515" y="10453"/>
                  </a:cubicBezTo>
                  <a:cubicBezTo>
                    <a:pt x="173928" y="10359"/>
                    <a:pt x="169492" y="9282"/>
                    <a:pt x="163768" y="7761"/>
                  </a:cubicBezTo>
                  <a:cubicBezTo>
                    <a:pt x="152039" y="4682"/>
                    <a:pt x="134259" y="0"/>
                    <a:pt x="112441" y="0"/>
                  </a:cubicBezTo>
                  <a:cubicBezTo>
                    <a:pt x="34765" y="0"/>
                    <a:pt x="0" y="55377"/>
                    <a:pt x="0" y="110275"/>
                  </a:cubicBezTo>
                  <a:cubicBezTo>
                    <a:pt x="0" y="172652"/>
                    <a:pt x="43192" y="212965"/>
                    <a:pt x="110029" y="212965"/>
                  </a:cubicBezTo>
                  <a:cubicBezTo>
                    <a:pt x="124965" y="212965"/>
                    <a:pt x="138461" y="210448"/>
                    <a:pt x="149382" y="208411"/>
                  </a:cubicBezTo>
                  <a:cubicBezTo>
                    <a:pt x="156745" y="207030"/>
                    <a:pt x="163838" y="205789"/>
                    <a:pt x="169808" y="205661"/>
                  </a:cubicBezTo>
                  <a:cubicBezTo>
                    <a:pt x="171119" y="205661"/>
                    <a:pt x="172032" y="205661"/>
                    <a:pt x="172804" y="205567"/>
                  </a:cubicBezTo>
                  <a:cubicBezTo>
                    <a:pt x="175006" y="205507"/>
                    <a:pt x="177209" y="205558"/>
                    <a:pt x="179406" y="205719"/>
                  </a:cubicBezTo>
                  <a:lnTo>
                    <a:pt x="182414" y="206012"/>
                  </a:ln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>
                <a:solidFill>
                  <a:schemeClr val="bg1"/>
                </a:solidFill>
              </a:endParaRPr>
            </a:p>
          </p:txBody>
        </p:sp>
      </p:grpSp>
      <p:sp>
        <p:nvSpPr>
          <p:cNvPr id="9" name="Titel 8">
            <a:extLst>
              <a:ext uri="{FF2B5EF4-FFF2-40B4-BE49-F238E27FC236}">
                <a16:creationId xmlns:a16="http://schemas.microsoft.com/office/drawing/2014/main" id="{B9C6B567-A3DD-383B-5D53-39816E6887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919" y="4496507"/>
            <a:ext cx="11232000" cy="517881"/>
          </a:xfrm>
        </p:spPr>
        <p:txBody>
          <a:bodyPr>
            <a:noAutofit/>
          </a:bodyPr>
          <a:lstStyle>
            <a:lvl1pPr rtl="0">
              <a:defRPr sz="3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GB"/>
          </a:p>
        </p:txBody>
      </p:sp>
      <p:sp>
        <p:nvSpPr>
          <p:cNvPr id="16" name="Textfeld 15">
            <a:extLst>
              <a:ext uri="{FF2B5EF4-FFF2-40B4-BE49-F238E27FC236}">
                <a16:creationId xmlns:a16="http://schemas.microsoft.com/office/drawing/2014/main" id="{335557F0-156D-9EF3-BE63-76E58DCD28D1}"/>
              </a:ext>
            </a:extLst>
          </p:cNvPr>
          <p:cNvSpPr txBox="1"/>
          <p:nvPr userDrawn="1"/>
        </p:nvSpPr>
        <p:spPr>
          <a:xfrm>
            <a:off x="609918" y="5102653"/>
            <a:ext cx="6100232" cy="646331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pPr lvl="0" rtl="0"/>
            <a:r>
              <a:rPr lang="en-GB" sz="1800" b="0" i="0">
                <a:solidFill>
                  <a:schemeClr val="bg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Request for Proposal by Deutsche Bank – </a:t>
            </a:r>
            <a:br>
              <a:rPr lang="en-GB" sz="1800" b="0" i="0">
                <a:solidFill>
                  <a:schemeClr val="bg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1800" b="0" i="0">
                <a:solidFill>
                  <a:schemeClr val="bg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Miles &amp; More // Mobile app solution development </a:t>
            </a:r>
          </a:p>
        </p:txBody>
      </p:sp>
    </p:spTree>
    <p:extLst>
      <p:ext uri="{BB962C8B-B14F-4D97-AF65-F5344CB8AC3E}">
        <p14:creationId xmlns:p14="http://schemas.microsoft.com/office/powerpoint/2010/main" val="18268405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F03889B5-5769-4D31-B1F9-4724D3A628C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F03889B5-5769-4D31-B1F9-4724D3A628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>
            <a:extLst>
              <a:ext uri="{FF2B5EF4-FFF2-40B4-BE49-F238E27FC236}">
                <a16:creationId xmlns:a16="http://schemas.microsoft.com/office/drawing/2014/main" id="{7E9E9310-804D-43C9-A137-B7D9C63A9A10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rtl="0"/>
            <a:endParaRPr lang="en-GB" sz="3600" b="1" i="0" baseline="0">
              <a:latin typeface="Arial" panose="020B0604020202020204" pitchFamily="34" charset="0"/>
              <a:ea typeface="Malgun Gothic Semilight" panose="020B0502040204020203" pitchFamily="34" charset="-128"/>
              <a:cs typeface="Malgun Gothic Semilight" panose="020B0502040204020203" pitchFamily="34" charset="-128"/>
              <a:sym typeface="Arial" panose="020B060402020202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18F5DC52-C560-4903-AA44-0497E08EA68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79425" y="2621920"/>
            <a:ext cx="9180513" cy="997196"/>
          </a:xfrm>
        </p:spPr>
        <p:txBody>
          <a:bodyPr vert="horz" lIns="0" tIns="0" rIns="0" bIns="0" anchor="b">
            <a:noAutofit/>
          </a:bodyPr>
          <a:lstStyle>
            <a:lvl1pPr algn="l" rtl="0">
              <a:defRPr sz="3600" b="1" cap="all" baseline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GB"/>
              <a:t>Click to add title</a:t>
            </a:r>
            <a:br>
              <a:rPr lang="en-GB"/>
            </a:br>
            <a:r>
              <a:rPr lang="en-GB"/>
              <a:t>36 pt. Bold, caps 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805457E3-5FFF-4E34-B755-5A5C2B372EC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79425" y="3869599"/>
            <a:ext cx="9180513" cy="276999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cap="none" baseline="0">
                <a:solidFill>
                  <a:schemeClr val="accent4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add subtitle, 18 pt. Regular</a:t>
            </a:r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0E741EA5-5CD3-4B6D-A654-564CC372A38B}"/>
              </a:ext>
            </a:extLst>
          </p:cNvPr>
          <p:cNvSpPr/>
          <p:nvPr/>
        </p:nvSpPr>
        <p:spPr>
          <a:xfrm>
            <a:off x="479425" y="3726357"/>
            <a:ext cx="684000" cy="36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GB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187D71F5-4854-4F5A-9313-38A98DA13E8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79425" y="5902697"/>
            <a:ext cx="9144000" cy="184666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cap="none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/>
              <a:t>Ort, Datum eingeben</a:t>
            </a:r>
          </a:p>
        </p:txBody>
      </p:sp>
      <p:grpSp>
        <p:nvGrpSpPr>
          <p:cNvPr id="17" name="Gruppieren 16">
            <a:extLst>
              <a:ext uri="{FF2B5EF4-FFF2-40B4-BE49-F238E27FC236}">
                <a16:creationId xmlns:a16="http://schemas.microsoft.com/office/drawing/2014/main" id="{906A8657-387B-4A35-B7CB-570141289255}"/>
              </a:ext>
            </a:extLst>
          </p:cNvPr>
          <p:cNvGrpSpPr/>
          <p:nvPr userDrawn="1"/>
        </p:nvGrpSpPr>
        <p:grpSpPr>
          <a:xfrm>
            <a:off x="9320362" y="330434"/>
            <a:ext cx="2392460" cy="345976"/>
            <a:chOff x="9320362" y="330434"/>
            <a:chExt cx="2392460" cy="345976"/>
          </a:xfrm>
        </p:grpSpPr>
        <p:sp>
          <p:nvSpPr>
            <p:cNvPr id="5" name="Freihandform: Form 4">
              <a:extLst>
                <a:ext uri="{FF2B5EF4-FFF2-40B4-BE49-F238E27FC236}">
                  <a16:creationId xmlns:a16="http://schemas.microsoft.com/office/drawing/2014/main" id="{55A68C65-F098-4E0B-A39D-AC9CB1D79DCF}"/>
                </a:ext>
              </a:extLst>
            </p:cNvPr>
            <p:cNvSpPr/>
            <p:nvPr/>
          </p:nvSpPr>
          <p:spPr>
            <a:xfrm>
              <a:off x="9908583" y="339029"/>
              <a:ext cx="347574" cy="332589"/>
            </a:xfrm>
            <a:custGeom>
              <a:avLst/>
              <a:gdLst>
                <a:gd name="connsiteX0" fmla="*/ 260728 w 347574"/>
                <a:gd name="connsiteY0" fmla="*/ 23028 h 332589"/>
                <a:gd name="connsiteX1" fmla="*/ 265026 w 347574"/>
                <a:gd name="connsiteY1" fmla="*/ 23276 h 332589"/>
                <a:gd name="connsiteX2" fmla="*/ 287313 w 347574"/>
                <a:gd name="connsiteY2" fmla="*/ 58588 h 332589"/>
                <a:gd name="connsiteX3" fmla="*/ 287313 w 347574"/>
                <a:gd name="connsiteY3" fmla="*/ 235095 h 332589"/>
                <a:gd name="connsiteX4" fmla="*/ 80267 w 347574"/>
                <a:gd name="connsiteY4" fmla="*/ 0 h 332589"/>
                <a:gd name="connsiteX5" fmla="*/ 7854 w 347574"/>
                <a:gd name="connsiteY5" fmla="*/ 0 h 332589"/>
                <a:gd name="connsiteX6" fmla="*/ 7854 w 347574"/>
                <a:gd name="connsiteY6" fmla="*/ 22572 h 332589"/>
                <a:gd name="connsiteX7" fmla="*/ 11847 w 347574"/>
                <a:gd name="connsiteY7" fmla="*/ 22971 h 332589"/>
                <a:gd name="connsiteX8" fmla="*/ 27174 w 347574"/>
                <a:gd name="connsiteY8" fmla="*/ 34381 h 332589"/>
                <a:gd name="connsiteX9" fmla="*/ 27174 w 347574"/>
                <a:gd name="connsiteY9" fmla="*/ 267764 h 332589"/>
                <a:gd name="connsiteX10" fmla="*/ 4355 w 347574"/>
                <a:gd name="connsiteY10" fmla="*/ 306024 h 332589"/>
                <a:gd name="connsiteX11" fmla="*/ 0 w 347574"/>
                <a:gd name="connsiteY11" fmla="*/ 306253 h 332589"/>
                <a:gd name="connsiteX12" fmla="*/ 0 w 347574"/>
                <a:gd name="connsiteY12" fmla="*/ 329072 h 332589"/>
                <a:gd name="connsiteX13" fmla="*/ 88577 w 347574"/>
                <a:gd name="connsiteY13" fmla="*/ 329072 h 332589"/>
                <a:gd name="connsiteX14" fmla="*/ 88577 w 347574"/>
                <a:gd name="connsiteY14" fmla="*/ 306500 h 332589"/>
                <a:gd name="connsiteX15" fmla="*/ 84374 w 347574"/>
                <a:gd name="connsiteY15" fmla="*/ 306176 h 332589"/>
                <a:gd name="connsiteX16" fmla="*/ 62677 w 347574"/>
                <a:gd name="connsiteY16" fmla="*/ 263923 h 332589"/>
                <a:gd name="connsiteX17" fmla="*/ 62677 w 347574"/>
                <a:gd name="connsiteY17" fmla="*/ 74809 h 332589"/>
                <a:gd name="connsiteX18" fmla="*/ 288967 w 347574"/>
                <a:gd name="connsiteY18" fmla="*/ 331049 h 332589"/>
                <a:gd name="connsiteX19" fmla="*/ 290336 w 347574"/>
                <a:gd name="connsiteY19" fmla="*/ 332590 h 332589"/>
                <a:gd name="connsiteX20" fmla="*/ 322816 w 347574"/>
                <a:gd name="connsiteY20" fmla="*/ 332590 h 332589"/>
                <a:gd name="connsiteX21" fmla="*/ 322816 w 347574"/>
                <a:gd name="connsiteY21" fmla="*/ 63799 h 332589"/>
                <a:gd name="connsiteX22" fmla="*/ 343391 w 347574"/>
                <a:gd name="connsiteY22" fmla="*/ 23428 h 332589"/>
                <a:gd name="connsiteX23" fmla="*/ 347574 w 347574"/>
                <a:gd name="connsiteY23" fmla="*/ 23066 h 332589"/>
                <a:gd name="connsiteX24" fmla="*/ 347574 w 347574"/>
                <a:gd name="connsiteY24" fmla="*/ 0 h 332589"/>
                <a:gd name="connsiteX25" fmla="*/ 260728 w 347574"/>
                <a:gd name="connsiteY25" fmla="*/ 0 h 3325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347574" h="332589">
                  <a:moveTo>
                    <a:pt x="260728" y="23028"/>
                  </a:moveTo>
                  <a:lnTo>
                    <a:pt x="265026" y="23276"/>
                  </a:lnTo>
                  <a:cubicBezTo>
                    <a:pt x="287351" y="24550"/>
                    <a:pt x="287351" y="29094"/>
                    <a:pt x="287313" y="58588"/>
                  </a:cubicBezTo>
                  <a:lnTo>
                    <a:pt x="287313" y="235095"/>
                  </a:lnTo>
                  <a:lnTo>
                    <a:pt x="80267" y="0"/>
                  </a:lnTo>
                  <a:lnTo>
                    <a:pt x="7854" y="0"/>
                  </a:lnTo>
                  <a:lnTo>
                    <a:pt x="7854" y="22572"/>
                  </a:lnTo>
                  <a:lnTo>
                    <a:pt x="11847" y="22971"/>
                  </a:lnTo>
                  <a:cubicBezTo>
                    <a:pt x="23808" y="23789"/>
                    <a:pt x="26946" y="27782"/>
                    <a:pt x="27174" y="34381"/>
                  </a:cubicBezTo>
                  <a:lnTo>
                    <a:pt x="27174" y="267764"/>
                  </a:lnTo>
                  <a:cubicBezTo>
                    <a:pt x="27174" y="297106"/>
                    <a:pt x="27174" y="304978"/>
                    <a:pt x="4355" y="306024"/>
                  </a:cubicBezTo>
                  <a:lnTo>
                    <a:pt x="0" y="306253"/>
                  </a:lnTo>
                  <a:lnTo>
                    <a:pt x="0" y="329072"/>
                  </a:lnTo>
                  <a:lnTo>
                    <a:pt x="88577" y="329072"/>
                  </a:lnTo>
                  <a:lnTo>
                    <a:pt x="88577" y="306500"/>
                  </a:lnTo>
                  <a:lnTo>
                    <a:pt x="84374" y="306176"/>
                  </a:lnTo>
                  <a:cubicBezTo>
                    <a:pt x="62639" y="304484"/>
                    <a:pt x="62658" y="295908"/>
                    <a:pt x="62677" y="263923"/>
                  </a:cubicBezTo>
                  <a:lnTo>
                    <a:pt x="62677" y="74809"/>
                  </a:lnTo>
                  <a:lnTo>
                    <a:pt x="288967" y="331049"/>
                  </a:lnTo>
                  <a:lnTo>
                    <a:pt x="290336" y="332590"/>
                  </a:lnTo>
                  <a:lnTo>
                    <a:pt x="322816" y="332590"/>
                  </a:lnTo>
                  <a:lnTo>
                    <a:pt x="322816" y="63799"/>
                  </a:lnTo>
                  <a:cubicBezTo>
                    <a:pt x="322816" y="30996"/>
                    <a:pt x="324584" y="25215"/>
                    <a:pt x="343391" y="23428"/>
                  </a:cubicBezTo>
                  <a:lnTo>
                    <a:pt x="347574" y="23066"/>
                  </a:lnTo>
                  <a:lnTo>
                    <a:pt x="347574" y="0"/>
                  </a:lnTo>
                  <a:lnTo>
                    <a:pt x="260728" y="0"/>
                  </a:lnTo>
                  <a:close/>
                </a:path>
              </a:pathLst>
            </a:custGeom>
            <a:solidFill>
              <a:srgbClr val="000000"/>
            </a:solidFill>
            <a:ln w="190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6" name="Freihandform: Form 5">
              <a:extLst>
                <a:ext uri="{FF2B5EF4-FFF2-40B4-BE49-F238E27FC236}">
                  <a16:creationId xmlns:a16="http://schemas.microsoft.com/office/drawing/2014/main" id="{2CB80CF9-41B0-4B35-8E86-E0CD85055FB6}"/>
                </a:ext>
              </a:extLst>
            </p:cNvPr>
            <p:cNvSpPr/>
            <p:nvPr/>
          </p:nvSpPr>
          <p:spPr>
            <a:xfrm>
              <a:off x="9320362" y="330434"/>
              <a:ext cx="243956" cy="345976"/>
            </a:xfrm>
            <a:custGeom>
              <a:avLst/>
              <a:gdLst>
                <a:gd name="connsiteX0" fmla="*/ 142829 w 243956"/>
                <a:gd name="connsiteY0" fmla="*/ 140148 h 345976"/>
                <a:gd name="connsiteX1" fmla="*/ 142829 w 243956"/>
                <a:gd name="connsiteY1" fmla="*/ 140148 h 345976"/>
                <a:gd name="connsiteX2" fmla="*/ 70359 w 243956"/>
                <a:gd name="connsiteY2" fmla="*/ 75189 h 345976"/>
                <a:gd name="connsiteX3" fmla="*/ 119287 w 243956"/>
                <a:gd name="connsiteY3" fmla="*/ 27744 h 345976"/>
                <a:gd name="connsiteX4" fmla="*/ 195351 w 243956"/>
                <a:gd name="connsiteY4" fmla="*/ 64559 h 345976"/>
                <a:gd name="connsiteX5" fmla="*/ 196625 w 243956"/>
                <a:gd name="connsiteY5" fmla="*/ 67145 h 345976"/>
                <a:gd name="connsiteX6" fmla="*/ 221118 w 243956"/>
                <a:gd name="connsiteY6" fmla="*/ 66879 h 345976"/>
                <a:gd name="connsiteX7" fmla="*/ 210526 w 243956"/>
                <a:gd name="connsiteY7" fmla="*/ 5001 h 345976"/>
                <a:gd name="connsiteX8" fmla="*/ 194990 w 243956"/>
                <a:gd name="connsiteY8" fmla="*/ 5001 h 345976"/>
                <a:gd name="connsiteX9" fmla="*/ 192594 w 243956"/>
                <a:gd name="connsiteY9" fmla="*/ 6085 h 345976"/>
                <a:gd name="connsiteX10" fmla="*/ 180291 w 243956"/>
                <a:gd name="connsiteY10" fmla="*/ 8747 h 345976"/>
                <a:gd name="connsiteX11" fmla="*/ 164793 w 243956"/>
                <a:gd name="connsiteY11" fmla="*/ 6180 h 345976"/>
                <a:gd name="connsiteX12" fmla="*/ 155646 w 243956"/>
                <a:gd name="connsiteY12" fmla="*/ 4279 h 345976"/>
                <a:gd name="connsiteX13" fmla="*/ 112765 w 243956"/>
                <a:gd name="connsiteY13" fmla="*/ 0 h 345976"/>
                <a:gd name="connsiteX14" fmla="*/ 8291 w 243956"/>
                <a:gd name="connsiteY14" fmla="*/ 89508 h 345976"/>
                <a:gd name="connsiteX15" fmla="*/ 103675 w 243956"/>
                <a:gd name="connsiteY15" fmla="*/ 190749 h 345976"/>
                <a:gd name="connsiteX16" fmla="*/ 180272 w 243956"/>
                <a:gd name="connsiteY16" fmla="*/ 263333 h 345976"/>
                <a:gd name="connsiteX17" fmla="*/ 117120 w 243956"/>
                <a:gd name="connsiteY17" fmla="*/ 315076 h 345976"/>
                <a:gd name="connsiteX18" fmla="*/ 24417 w 243956"/>
                <a:gd name="connsiteY18" fmla="*/ 271586 h 345976"/>
                <a:gd name="connsiteX19" fmla="*/ 23276 w 243956"/>
                <a:gd name="connsiteY19" fmla="*/ 268734 h 345976"/>
                <a:gd name="connsiteX20" fmla="*/ 0 w 243956"/>
                <a:gd name="connsiteY20" fmla="*/ 268734 h 345976"/>
                <a:gd name="connsiteX21" fmla="*/ 10345 w 243956"/>
                <a:gd name="connsiteY21" fmla="*/ 338371 h 345976"/>
                <a:gd name="connsiteX22" fmla="*/ 29133 w 243956"/>
                <a:gd name="connsiteY22" fmla="*/ 338371 h 345976"/>
                <a:gd name="connsiteX23" fmla="*/ 30445 w 243956"/>
                <a:gd name="connsiteY23" fmla="*/ 337115 h 345976"/>
                <a:gd name="connsiteX24" fmla="*/ 42235 w 243956"/>
                <a:gd name="connsiteY24" fmla="*/ 334491 h 345976"/>
                <a:gd name="connsiteX25" fmla="*/ 62372 w 243956"/>
                <a:gd name="connsiteY25" fmla="*/ 338085 h 345976"/>
                <a:gd name="connsiteX26" fmla="*/ 120942 w 243956"/>
                <a:gd name="connsiteY26" fmla="*/ 345977 h 345976"/>
                <a:gd name="connsiteX27" fmla="*/ 243956 w 243956"/>
                <a:gd name="connsiteY27" fmla="*/ 247988 h 345976"/>
                <a:gd name="connsiteX28" fmla="*/ 142848 w 243956"/>
                <a:gd name="connsiteY28" fmla="*/ 140148 h 3459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243956" h="345976">
                  <a:moveTo>
                    <a:pt x="142829" y="140148"/>
                  </a:moveTo>
                  <a:lnTo>
                    <a:pt x="142829" y="140148"/>
                  </a:lnTo>
                  <a:cubicBezTo>
                    <a:pt x="105558" y="121436"/>
                    <a:pt x="70359" y="103751"/>
                    <a:pt x="70359" y="75189"/>
                  </a:cubicBezTo>
                  <a:cubicBezTo>
                    <a:pt x="70359" y="56059"/>
                    <a:pt x="85914" y="27744"/>
                    <a:pt x="119287" y="27744"/>
                  </a:cubicBezTo>
                  <a:cubicBezTo>
                    <a:pt x="157814" y="27744"/>
                    <a:pt x="180823" y="38298"/>
                    <a:pt x="195351" y="64559"/>
                  </a:cubicBezTo>
                  <a:lnTo>
                    <a:pt x="196625" y="67145"/>
                  </a:lnTo>
                  <a:lnTo>
                    <a:pt x="221118" y="66879"/>
                  </a:lnTo>
                  <a:lnTo>
                    <a:pt x="210526" y="5001"/>
                  </a:lnTo>
                  <a:lnTo>
                    <a:pt x="194990" y="5001"/>
                  </a:lnTo>
                  <a:lnTo>
                    <a:pt x="192594" y="6085"/>
                  </a:lnTo>
                  <a:cubicBezTo>
                    <a:pt x="188783" y="7997"/>
                    <a:pt x="184551" y="8913"/>
                    <a:pt x="180291" y="8747"/>
                  </a:cubicBezTo>
                  <a:cubicBezTo>
                    <a:pt x="173825" y="8500"/>
                    <a:pt x="170973" y="7435"/>
                    <a:pt x="164793" y="6180"/>
                  </a:cubicBezTo>
                  <a:cubicBezTo>
                    <a:pt x="162168" y="5629"/>
                    <a:pt x="159259" y="4887"/>
                    <a:pt x="155646" y="4279"/>
                  </a:cubicBezTo>
                  <a:cubicBezTo>
                    <a:pt x="141528" y="1446"/>
                    <a:pt x="127164" y="13"/>
                    <a:pt x="112765" y="0"/>
                  </a:cubicBezTo>
                  <a:cubicBezTo>
                    <a:pt x="55146" y="0"/>
                    <a:pt x="8291" y="40143"/>
                    <a:pt x="8291" y="89508"/>
                  </a:cubicBezTo>
                  <a:cubicBezTo>
                    <a:pt x="8291" y="139463"/>
                    <a:pt x="56782" y="165572"/>
                    <a:pt x="103675" y="190749"/>
                  </a:cubicBezTo>
                  <a:cubicBezTo>
                    <a:pt x="143057" y="211933"/>
                    <a:pt x="180272" y="231995"/>
                    <a:pt x="180272" y="263333"/>
                  </a:cubicBezTo>
                  <a:cubicBezTo>
                    <a:pt x="180272" y="292827"/>
                    <a:pt x="153117" y="315076"/>
                    <a:pt x="117120" y="315076"/>
                  </a:cubicBezTo>
                  <a:cubicBezTo>
                    <a:pt x="67906" y="315076"/>
                    <a:pt x="37576" y="300833"/>
                    <a:pt x="24417" y="271586"/>
                  </a:cubicBezTo>
                  <a:lnTo>
                    <a:pt x="23276" y="268734"/>
                  </a:lnTo>
                  <a:lnTo>
                    <a:pt x="0" y="268734"/>
                  </a:lnTo>
                  <a:lnTo>
                    <a:pt x="10345" y="338371"/>
                  </a:lnTo>
                  <a:lnTo>
                    <a:pt x="29133" y="338371"/>
                  </a:lnTo>
                  <a:lnTo>
                    <a:pt x="30445" y="337115"/>
                  </a:lnTo>
                  <a:cubicBezTo>
                    <a:pt x="33240" y="334605"/>
                    <a:pt x="36720" y="334434"/>
                    <a:pt x="42235" y="334491"/>
                  </a:cubicBezTo>
                  <a:cubicBezTo>
                    <a:pt x="47749" y="334548"/>
                    <a:pt x="54120" y="336089"/>
                    <a:pt x="62372" y="338085"/>
                  </a:cubicBezTo>
                  <a:cubicBezTo>
                    <a:pt x="81479" y="343202"/>
                    <a:pt x="101162" y="345853"/>
                    <a:pt x="120942" y="345977"/>
                  </a:cubicBezTo>
                  <a:cubicBezTo>
                    <a:pt x="192233" y="345977"/>
                    <a:pt x="243956" y="304769"/>
                    <a:pt x="243956" y="247988"/>
                  </a:cubicBezTo>
                  <a:cubicBezTo>
                    <a:pt x="243956" y="191206"/>
                    <a:pt x="190160" y="163956"/>
                    <a:pt x="142848" y="140148"/>
                  </a:cubicBezTo>
                </a:path>
              </a:pathLst>
            </a:custGeom>
            <a:solidFill>
              <a:srgbClr val="000000"/>
            </a:solidFill>
            <a:ln w="190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9" name="Freihandform: Form 8">
              <a:extLst>
                <a:ext uri="{FF2B5EF4-FFF2-40B4-BE49-F238E27FC236}">
                  <a16:creationId xmlns:a16="http://schemas.microsoft.com/office/drawing/2014/main" id="{8BD7DBD3-3FED-4EFE-A58C-B496BB5ED7E8}"/>
                </a:ext>
              </a:extLst>
            </p:cNvPr>
            <p:cNvSpPr/>
            <p:nvPr/>
          </p:nvSpPr>
          <p:spPr>
            <a:xfrm>
              <a:off x="9614881" y="339067"/>
              <a:ext cx="243328" cy="329090"/>
            </a:xfrm>
            <a:custGeom>
              <a:avLst/>
              <a:gdLst>
                <a:gd name="connsiteX0" fmla="*/ 16544 w 243328"/>
                <a:gd name="connsiteY0" fmla="*/ 287103 h 329090"/>
                <a:gd name="connsiteX1" fmla="*/ 4126 w 243328"/>
                <a:gd name="connsiteY1" fmla="*/ 305397 h 329090"/>
                <a:gd name="connsiteX2" fmla="*/ 0 w 243328"/>
                <a:gd name="connsiteY2" fmla="*/ 305796 h 329090"/>
                <a:gd name="connsiteX3" fmla="*/ 0 w 243328"/>
                <a:gd name="connsiteY3" fmla="*/ 329091 h 329090"/>
                <a:gd name="connsiteX4" fmla="*/ 235342 w 243328"/>
                <a:gd name="connsiteY4" fmla="*/ 329091 h 329090"/>
                <a:gd name="connsiteX5" fmla="*/ 243329 w 243328"/>
                <a:gd name="connsiteY5" fmla="*/ 263276 h 329090"/>
                <a:gd name="connsiteX6" fmla="*/ 218608 w 243328"/>
                <a:gd name="connsiteY6" fmla="*/ 263467 h 329090"/>
                <a:gd name="connsiteX7" fmla="*/ 217600 w 243328"/>
                <a:gd name="connsiteY7" fmla="*/ 266604 h 329090"/>
                <a:gd name="connsiteX8" fmla="*/ 164698 w 243328"/>
                <a:gd name="connsiteY8" fmla="*/ 296897 h 329090"/>
                <a:gd name="connsiteX9" fmla="*/ 104284 w 243328"/>
                <a:gd name="connsiteY9" fmla="*/ 296897 h 329090"/>
                <a:gd name="connsiteX10" fmla="*/ 80000 w 243328"/>
                <a:gd name="connsiteY10" fmla="*/ 264398 h 329090"/>
                <a:gd name="connsiteX11" fmla="*/ 80000 w 243328"/>
                <a:gd name="connsiteY11" fmla="*/ 175251 h 329090"/>
                <a:gd name="connsiteX12" fmla="*/ 144655 w 243328"/>
                <a:gd name="connsiteY12" fmla="*/ 175251 h 329090"/>
                <a:gd name="connsiteX13" fmla="*/ 174852 w 243328"/>
                <a:gd name="connsiteY13" fmla="*/ 193126 h 329090"/>
                <a:gd name="connsiteX14" fmla="*/ 175537 w 243328"/>
                <a:gd name="connsiteY14" fmla="*/ 196930 h 329090"/>
                <a:gd name="connsiteX15" fmla="*/ 199079 w 243328"/>
                <a:gd name="connsiteY15" fmla="*/ 196930 h 329090"/>
                <a:gd name="connsiteX16" fmla="*/ 199079 w 243328"/>
                <a:gd name="connsiteY16" fmla="*/ 122767 h 329090"/>
                <a:gd name="connsiteX17" fmla="*/ 175917 w 243328"/>
                <a:gd name="connsiteY17" fmla="*/ 122767 h 329090"/>
                <a:gd name="connsiteX18" fmla="*/ 175347 w 243328"/>
                <a:gd name="connsiteY18" fmla="*/ 126570 h 329090"/>
                <a:gd name="connsiteX19" fmla="*/ 144655 w 243328"/>
                <a:gd name="connsiteY19" fmla="*/ 143133 h 329090"/>
                <a:gd name="connsiteX20" fmla="*/ 80000 w 243328"/>
                <a:gd name="connsiteY20" fmla="*/ 143133 h 329090"/>
                <a:gd name="connsiteX21" fmla="*/ 80000 w 243328"/>
                <a:gd name="connsiteY21" fmla="*/ 32213 h 329090"/>
                <a:gd name="connsiteX22" fmla="*/ 166599 w 243328"/>
                <a:gd name="connsiteY22" fmla="*/ 32213 h 329090"/>
                <a:gd name="connsiteX23" fmla="*/ 201950 w 243328"/>
                <a:gd name="connsiteY23" fmla="*/ 55603 h 329090"/>
                <a:gd name="connsiteX24" fmla="*/ 202882 w 243328"/>
                <a:gd name="connsiteY24" fmla="*/ 58950 h 329090"/>
                <a:gd name="connsiteX25" fmla="*/ 227603 w 243328"/>
                <a:gd name="connsiteY25" fmla="*/ 58950 h 329090"/>
                <a:gd name="connsiteX26" fmla="*/ 223533 w 243328"/>
                <a:gd name="connsiteY26" fmla="*/ 0 h 329090"/>
                <a:gd name="connsiteX27" fmla="*/ 361 w 243328"/>
                <a:gd name="connsiteY27" fmla="*/ 0 h 329090"/>
                <a:gd name="connsiteX28" fmla="*/ 361 w 243328"/>
                <a:gd name="connsiteY28" fmla="*/ 23066 h 329090"/>
                <a:gd name="connsiteX29" fmla="*/ 4545 w 243328"/>
                <a:gd name="connsiteY29" fmla="*/ 23352 h 329090"/>
                <a:gd name="connsiteX30" fmla="*/ 16582 w 243328"/>
                <a:gd name="connsiteY30" fmla="*/ 52655 h 3290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243328" h="329090">
                  <a:moveTo>
                    <a:pt x="16544" y="287103"/>
                  </a:moveTo>
                  <a:cubicBezTo>
                    <a:pt x="16202" y="299939"/>
                    <a:pt x="15878" y="304218"/>
                    <a:pt x="4126" y="305397"/>
                  </a:cubicBezTo>
                  <a:lnTo>
                    <a:pt x="0" y="305796"/>
                  </a:lnTo>
                  <a:lnTo>
                    <a:pt x="0" y="329091"/>
                  </a:lnTo>
                  <a:lnTo>
                    <a:pt x="235342" y="329091"/>
                  </a:lnTo>
                  <a:lnTo>
                    <a:pt x="243329" y="263276"/>
                  </a:lnTo>
                  <a:lnTo>
                    <a:pt x="218608" y="263467"/>
                  </a:lnTo>
                  <a:lnTo>
                    <a:pt x="217600" y="266604"/>
                  </a:lnTo>
                  <a:cubicBezTo>
                    <a:pt x="207826" y="297239"/>
                    <a:pt x="197766" y="297144"/>
                    <a:pt x="164698" y="296897"/>
                  </a:cubicBezTo>
                  <a:lnTo>
                    <a:pt x="104284" y="296897"/>
                  </a:lnTo>
                  <a:cubicBezTo>
                    <a:pt x="80666" y="296897"/>
                    <a:pt x="80000" y="292276"/>
                    <a:pt x="80000" y="264398"/>
                  </a:cubicBezTo>
                  <a:lnTo>
                    <a:pt x="80000" y="175251"/>
                  </a:lnTo>
                  <a:lnTo>
                    <a:pt x="144655" y="175251"/>
                  </a:lnTo>
                  <a:cubicBezTo>
                    <a:pt x="166181" y="175251"/>
                    <a:pt x="170688" y="175727"/>
                    <a:pt x="174852" y="193126"/>
                  </a:cubicBezTo>
                  <a:lnTo>
                    <a:pt x="175537" y="196930"/>
                  </a:lnTo>
                  <a:lnTo>
                    <a:pt x="199079" y="196930"/>
                  </a:lnTo>
                  <a:lnTo>
                    <a:pt x="199079" y="122767"/>
                  </a:lnTo>
                  <a:lnTo>
                    <a:pt x="175917" y="122767"/>
                  </a:lnTo>
                  <a:lnTo>
                    <a:pt x="175347" y="126570"/>
                  </a:lnTo>
                  <a:cubicBezTo>
                    <a:pt x="172608" y="141935"/>
                    <a:pt x="167588" y="143133"/>
                    <a:pt x="144655" y="143133"/>
                  </a:cubicBezTo>
                  <a:lnTo>
                    <a:pt x="80000" y="143133"/>
                  </a:lnTo>
                  <a:lnTo>
                    <a:pt x="80000" y="32213"/>
                  </a:lnTo>
                  <a:lnTo>
                    <a:pt x="166599" y="32213"/>
                  </a:lnTo>
                  <a:cubicBezTo>
                    <a:pt x="188829" y="32213"/>
                    <a:pt x="196112" y="32213"/>
                    <a:pt x="201950" y="55603"/>
                  </a:cubicBezTo>
                  <a:lnTo>
                    <a:pt x="202882" y="58950"/>
                  </a:lnTo>
                  <a:lnTo>
                    <a:pt x="227603" y="58950"/>
                  </a:lnTo>
                  <a:lnTo>
                    <a:pt x="223533" y="0"/>
                  </a:lnTo>
                  <a:lnTo>
                    <a:pt x="361" y="0"/>
                  </a:lnTo>
                  <a:lnTo>
                    <a:pt x="361" y="23066"/>
                  </a:lnTo>
                  <a:lnTo>
                    <a:pt x="4545" y="23352"/>
                  </a:lnTo>
                  <a:cubicBezTo>
                    <a:pt x="16411" y="24778"/>
                    <a:pt x="16430" y="29056"/>
                    <a:pt x="16582" y="52655"/>
                  </a:cubicBezTo>
                  <a:close/>
                </a:path>
              </a:pathLst>
            </a:custGeom>
            <a:solidFill>
              <a:srgbClr val="000000"/>
            </a:solidFill>
            <a:ln w="190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10" name="Freihandform: Form 9">
              <a:extLst>
                <a:ext uri="{FF2B5EF4-FFF2-40B4-BE49-F238E27FC236}">
                  <a16:creationId xmlns:a16="http://schemas.microsoft.com/office/drawing/2014/main" id="{4D0B633B-6A5A-4E7E-9D30-099D94251414}"/>
                </a:ext>
              </a:extLst>
            </p:cNvPr>
            <p:cNvSpPr/>
            <p:nvPr/>
          </p:nvSpPr>
          <p:spPr>
            <a:xfrm>
              <a:off x="11361159" y="334047"/>
              <a:ext cx="351663" cy="338788"/>
            </a:xfrm>
            <a:custGeom>
              <a:avLst/>
              <a:gdLst>
                <a:gd name="connsiteX0" fmla="*/ 236768 w 351663"/>
                <a:gd name="connsiteY0" fmla="*/ 212960 h 338788"/>
                <a:gd name="connsiteX1" fmla="*/ 204061 w 351663"/>
                <a:gd name="connsiteY1" fmla="*/ 181793 h 338788"/>
                <a:gd name="connsiteX2" fmla="*/ 264170 w 351663"/>
                <a:gd name="connsiteY2" fmla="*/ 96753 h 338788"/>
                <a:gd name="connsiteX3" fmla="*/ 121417 w 351663"/>
                <a:gd name="connsiteY3" fmla="*/ 0 h 338788"/>
                <a:gd name="connsiteX4" fmla="*/ 59007 w 351663"/>
                <a:gd name="connsiteY4" fmla="*/ 1027 h 338788"/>
                <a:gd name="connsiteX5" fmla="*/ 24607 w 351663"/>
                <a:gd name="connsiteY5" fmla="*/ 2700 h 338788"/>
                <a:gd name="connsiteX6" fmla="*/ 10478 w 351663"/>
                <a:gd name="connsiteY6" fmla="*/ 3651 h 338788"/>
                <a:gd name="connsiteX7" fmla="*/ 10478 w 351663"/>
                <a:gd name="connsiteY7" fmla="*/ 26946 h 338788"/>
                <a:gd name="connsiteX8" fmla="*/ 14585 w 351663"/>
                <a:gd name="connsiteY8" fmla="*/ 27136 h 338788"/>
                <a:gd name="connsiteX9" fmla="*/ 28752 w 351663"/>
                <a:gd name="connsiteY9" fmla="*/ 40713 h 338788"/>
                <a:gd name="connsiteX10" fmla="*/ 28562 w 351663"/>
                <a:gd name="connsiteY10" fmla="*/ 281722 h 338788"/>
                <a:gd name="connsiteX11" fmla="*/ 4336 w 351663"/>
                <a:gd name="connsiteY11" fmla="*/ 311083 h 338788"/>
                <a:gd name="connsiteX12" fmla="*/ 0 w 351663"/>
                <a:gd name="connsiteY12" fmla="*/ 311311 h 338788"/>
                <a:gd name="connsiteX13" fmla="*/ 0 w 351663"/>
                <a:gd name="connsiteY13" fmla="*/ 334130 h 338788"/>
                <a:gd name="connsiteX14" fmla="*/ 124175 w 351663"/>
                <a:gd name="connsiteY14" fmla="*/ 334130 h 338788"/>
                <a:gd name="connsiteX15" fmla="*/ 124175 w 351663"/>
                <a:gd name="connsiteY15" fmla="*/ 311178 h 338788"/>
                <a:gd name="connsiteX16" fmla="*/ 119877 w 351663"/>
                <a:gd name="connsiteY16" fmla="*/ 311178 h 338788"/>
                <a:gd name="connsiteX17" fmla="*/ 94833 w 351663"/>
                <a:gd name="connsiteY17" fmla="*/ 267004 h 338788"/>
                <a:gd name="connsiteX18" fmla="*/ 94833 w 351663"/>
                <a:gd name="connsiteY18" fmla="*/ 201760 h 338788"/>
                <a:gd name="connsiteX19" fmla="*/ 134272 w 351663"/>
                <a:gd name="connsiteY19" fmla="*/ 201417 h 338788"/>
                <a:gd name="connsiteX20" fmla="*/ 187517 w 351663"/>
                <a:gd name="connsiteY20" fmla="*/ 249414 h 338788"/>
                <a:gd name="connsiteX21" fmla="*/ 214501 w 351663"/>
                <a:gd name="connsiteY21" fmla="*/ 276626 h 338788"/>
                <a:gd name="connsiteX22" fmla="*/ 230569 w 351663"/>
                <a:gd name="connsiteY22" fmla="*/ 293417 h 338788"/>
                <a:gd name="connsiteX23" fmla="*/ 241731 w 351663"/>
                <a:gd name="connsiteY23" fmla="*/ 305796 h 338788"/>
                <a:gd name="connsiteX24" fmla="*/ 327836 w 351663"/>
                <a:gd name="connsiteY24" fmla="*/ 338789 h 338788"/>
                <a:gd name="connsiteX25" fmla="*/ 346491 w 351663"/>
                <a:gd name="connsiteY25" fmla="*/ 338523 h 338788"/>
                <a:gd name="connsiteX26" fmla="*/ 351663 w 351663"/>
                <a:gd name="connsiteY26" fmla="*/ 338409 h 338788"/>
                <a:gd name="connsiteX27" fmla="*/ 351663 w 351663"/>
                <a:gd name="connsiteY27" fmla="*/ 315494 h 338788"/>
                <a:gd name="connsiteX28" fmla="*/ 346852 w 351663"/>
                <a:gd name="connsiteY28" fmla="*/ 315057 h 338788"/>
                <a:gd name="connsiteX29" fmla="*/ 346852 w 351663"/>
                <a:gd name="connsiteY29" fmla="*/ 315057 h 338788"/>
                <a:gd name="connsiteX30" fmla="*/ 309181 w 351663"/>
                <a:gd name="connsiteY30" fmla="*/ 287807 h 338788"/>
                <a:gd name="connsiteX31" fmla="*/ 278014 w 351663"/>
                <a:gd name="connsiteY31" fmla="*/ 255004 h 338788"/>
                <a:gd name="connsiteX32" fmla="*/ 193374 w 351663"/>
                <a:gd name="connsiteY32" fmla="*/ 101907 h 338788"/>
                <a:gd name="connsiteX33" fmla="*/ 106756 w 351663"/>
                <a:gd name="connsiteY33" fmla="*/ 178769 h 338788"/>
                <a:gd name="connsiteX34" fmla="*/ 94871 w 351663"/>
                <a:gd name="connsiteY34" fmla="*/ 178256 h 338788"/>
                <a:gd name="connsiteX35" fmla="*/ 94871 w 351663"/>
                <a:gd name="connsiteY35" fmla="*/ 24911 h 338788"/>
                <a:gd name="connsiteX36" fmla="*/ 116226 w 351663"/>
                <a:gd name="connsiteY36" fmla="*/ 24664 h 338788"/>
                <a:gd name="connsiteX37" fmla="*/ 193374 w 351663"/>
                <a:gd name="connsiteY37" fmla="*/ 101907 h 3387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351663" h="338788">
                  <a:moveTo>
                    <a:pt x="236768" y="212960"/>
                  </a:moveTo>
                  <a:cubicBezTo>
                    <a:pt x="233193" y="209366"/>
                    <a:pt x="215470" y="191586"/>
                    <a:pt x="204061" y="181793"/>
                  </a:cubicBezTo>
                  <a:cubicBezTo>
                    <a:pt x="243994" y="162986"/>
                    <a:pt x="264170" y="134386"/>
                    <a:pt x="264170" y="96753"/>
                  </a:cubicBezTo>
                  <a:cubicBezTo>
                    <a:pt x="264170" y="67659"/>
                    <a:pt x="250270" y="0"/>
                    <a:pt x="121417" y="0"/>
                  </a:cubicBezTo>
                  <a:cubicBezTo>
                    <a:pt x="110863" y="0"/>
                    <a:pt x="86162" y="0"/>
                    <a:pt x="59007" y="1027"/>
                  </a:cubicBezTo>
                  <a:cubicBezTo>
                    <a:pt x="42634" y="1749"/>
                    <a:pt x="33031" y="2263"/>
                    <a:pt x="24607" y="2700"/>
                  </a:cubicBezTo>
                  <a:lnTo>
                    <a:pt x="10478" y="3651"/>
                  </a:lnTo>
                  <a:lnTo>
                    <a:pt x="10478" y="26946"/>
                  </a:lnTo>
                  <a:lnTo>
                    <a:pt x="14585" y="27136"/>
                  </a:lnTo>
                  <a:cubicBezTo>
                    <a:pt x="24759" y="27877"/>
                    <a:pt x="28619" y="30521"/>
                    <a:pt x="28752" y="40713"/>
                  </a:cubicBezTo>
                  <a:lnTo>
                    <a:pt x="28562" y="281722"/>
                  </a:lnTo>
                  <a:cubicBezTo>
                    <a:pt x="27935" y="301708"/>
                    <a:pt x="26660" y="310037"/>
                    <a:pt x="4336" y="311083"/>
                  </a:cubicBezTo>
                  <a:lnTo>
                    <a:pt x="0" y="311311"/>
                  </a:lnTo>
                  <a:lnTo>
                    <a:pt x="0" y="334130"/>
                  </a:lnTo>
                  <a:lnTo>
                    <a:pt x="124175" y="334130"/>
                  </a:lnTo>
                  <a:lnTo>
                    <a:pt x="124175" y="311178"/>
                  </a:lnTo>
                  <a:lnTo>
                    <a:pt x="119877" y="311178"/>
                  </a:lnTo>
                  <a:cubicBezTo>
                    <a:pt x="94814" y="309942"/>
                    <a:pt x="94833" y="304218"/>
                    <a:pt x="94833" y="267004"/>
                  </a:cubicBezTo>
                  <a:lnTo>
                    <a:pt x="94833" y="201760"/>
                  </a:lnTo>
                  <a:cubicBezTo>
                    <a:pt x="107973" y="202526"/>
                    <a:pt x="121151" y="202410"/>
                    <a:pt x="134272" y="201417"/>
                  </a:cubicBezTo>
                  <a:cubicBezTo>
                    <a:pt x="154334" y="216402"/>
                    <a:pt x="161864" y="223514"/>
                    <a:pt x="187517" y="249414"/>
                  </a:cubicBezTo>
                  <a:lnTo>
                    <a:pt x="214501" y="276626"/>
                  </a:lnTo>
                  <a:cubicBezTo>
                    <a:pt x="220624" y="282825"/>
                    <a:pt x="225910" y="288454"/>
                    <a:pt x="230569" y="293417"/>
                  </a:cubicBezTo>
                  <a:cubicBezTo>
                    <a:pt x="234791" y="297904"/>
                    <a:pt x="238461" y="302088"/>
                    <a:pt x="241731" y="305796"/>
                  </a:cubicBezTo>
                  <a:cubicBezTo>
                    <a:pt x="261698" y="328444"/>
                    <a:pt x="270826" y="338789"/>
                    <a:pt x="327836" y="338789"/>
                  </a:cubicBezTo>
                  <a:cubicBezTo>
                    <a:pt x="333541" y="338789"/>
                    <a:pt x="339607" y="338789"/>
                    <a:pt x="346491" y="338523"/>
                  </a:cubicBezTo>
                  <a:lnTo>
                    <a:pt x="351663" y="338409"/>
                  </a:lnTo>
                  <a:lnTo>
                    <a:pt x="351663" y="315494"/>
                  </a:lnTo>
                  <a:lnTo>
                    <a:pt x="346852" y="315057"/>
                  </a:lnTo>
                  <a:lnTo>
                    <a:pt x="346852" y="315057"/>
                  </a:lnTo>
                  <a:cubicBezTo>
                    <a:pt x="333408" y="313802"/>
                    <a:pt x="325326" y="305112"/>
                    <a:pt x="309181" y="287807"/>
                  </a:cubicBezTo>
                  <a:lnTo>
                    <a:pt x="278014" y="255004"/>
                  </a:lnTo>
                  <a:close/>
                  <a:moveTo>
                    <a:pt x="193374" y="101907"/>
                  </a:moveTo>
                  <a:cubicBezTo>
                    <a:pt x="193374" y="154676"/>
                    <a:pt x="169357" y="176354"/>
                    <a:pt x="106756" y="178769"/>
                  </a:cubicBezTo>
                  <a:cubicBezTo>
                    <a:pt x="104854" y="178769"/>
                    <a:pt x="99416" y="178769"/>
                    <a:pt x="94871" y="178256"/>
                  </a:cubicBezTo>
                  <a:lnTo>
                    <a:pt x="94871" y="24911"/>
                  </a:lnTo>
                  <a:cubicBezTo>
                    <a:pt x="101089" y="24664"/>
                    <a:pt x="110635" y="24664"/>
                    <a:pt x="116226" y="24664"/>
                  </a:cubicBezTo>
                  <a:cubicBezTo>
                    <a:pt x="167645" y="24645"/>
                    <a:pt x="193374" y="50621"/>
                    <a:pt x="193374" y="101907"/>
                  </a:cubicBezTo>
                  <a:close/>
                </a:path>
              </a:pathLst>
            </a:custGeom>
            <a:solidFill>
              <a:srgbClr val="000000"/>
            </a:solidFill>
            <a:ln w="190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12" name="Freihandform: Form 11">
              <a:extLst>
                <a:ext uri="{FF2B5EF4-FFF2-40B4-BE49-F238E27FC236}">
                  <a16:creationId xmlns:a16="http://schemas.microsoft.com/office/drawing/2014/main" id="{B1AA03F2-117E-4EAF-9F82-422645DDC65D}"/>
                </a:ext>
              </a:extLst>
            </p:cNvPr>
            <p:cNvSpPr/>
            <p:nvPr/>
          </p:nvSpPr>
          <p:spPr>
            <a:xfrm>
              <a:off x="10279262" y="339029"/>
              <a:ext cx="336564" cy="329223"/>
            </a:xfrm>
            <a:custGeom>
              <a:avLst/>
              <a:gdLst>
                <a:gd name="connsiteX0" fmla="*/ 197272 w 336564"/>
                <a:gd name="connsiteY0" fmla="*/ 0 h 329223"/>
                <a:gd name="connsiteX1" fmla="*/ 147450 w 336564"/>
                <a:gd name="connsiteY1" fmla="*/ 0 h 329223"/>
                <a:gd name="connsiteX2" fmla="*/ 40580 w 336564"/>
                <a:gd name="connsiteY2" fmla="*/ 267289 h 329223"/>
                <a:gd name="connsiteX3" fmla="*/ 4241 w 336564"/>
                <a:gd name="connsiteY3" fmla="*/ 306119 h 329223"/>
                <a:gd name="connsiteX4" fmla="*/ 0 w 336564"/>
                <a:gd name="connsiteY4" fmla="*/ 306405 h 329223"/>
                <a:gd name="connsiteX5" fmla="*/ 0 w 336564"/>
                <a:gd name="connsiteY5" fmla="*/ 329224 h 329223"/>
                <a:gd name="connsiteX6" fmla="*/ 92171 w 336564"/>
                <a:gd name="connsiteY6" fmla="*/ 329224 h 329223"/>
                <a:gd name="connsiteX7" fmla="*/ 92171 w 336564"/>
                <a:gd name="connsiteY7" fmla="*/ 306576 h 329223"/>
                <a:gd name="connsiteX8" fmla="*/ 88025 w 336564"/>
                <a:gd name="connsiteY8" fmla="*/ 306214 h 329223"/>
                <a:gd name="connsiteX9" fmla="*/ 67469 w 336564"/>
                <a:gd name="connsiteY9" fmla="*/ 290602 h 329223"/>
                <a:gd name="connsiteX10" fmla="*/ 72394 w 336564"/>
                <a:gd name="connsiteY10" fmla="*/ 272081 h 329223"/>
                <a:gd name="connsiteX11" fmla="*/ 97115 w 336564"/>
                <a:gd name="connsiteY11" fmla="*/ 208263 h 329223"/>
                <a:gd name="connsiteX12" fmla="*/ 210716 w 336564"/>
                <a:gd name="connsiteY12" fmla="*/ 208263 h 329223"/>
                <a:gd name="connsiteX13" fmla="*/ 235437 w 336564"/>
                <a:gd name="connsiteY13" fmla="*/ 271929 h 329223"/>
                <a:gd name="connsiteX14" fmla="*/ 241807 w 336564"/>
                <a:gd name="connsiteY14" fmla="*/ 291991 h 329223"/>
                <a:gd name="connsiteX15" fmla="*/ 241960 w 336564"/>
                <a:gd name="connsiteY15" fmla="*/ 292751 h 329223"/>
                <a:gd name="connsiteX16" fmla="*/ 240267 w 336564"/>
                <a:gd name="connsiteY16" fmla="*/ 300224 h 329223"/>
                <a:gd name="connsiteX17" fmla="*/ 221879 w 336564"/>
                <a:gd name="connsiteY17" fmla="*/ 305815 h 329223"/>
                <a:gd name="connsiteX18" fmla="*/ 217695 w 336564"/>
                <a:gd name="connsiteY18" fmla="*/ 306138 h 329223"/>
                <a:gd name="connsiteX19" fmla="*/ 217695 w 336564"/>
                <a:gd name="connsiteY19" fmla="*/ 329148 h 329223"/>
                <a:gd name="connsiteX20" fmla="*/ 336564 w 336564"/>
                <a:gd name="connsiteY20" fmla="*/ 329148 h 329223"/>
                <a:gd name="connsiteX21" fmla="*/ 336564 w 336564"/>
                <a:gd name="connsiteY21" fmla="*/ 306557 h 329223"/>
                <a:gd name="connsiteX22" fmla="*/ 332229 w 336564"/>
                <a:gd name="connsiteY22" fmla="*/ 306329 h 329223"/>
                <a:gd name="connsiteX23" fmla="*/ 299901 w 336564"/>
                <a:gd name="connsiteY23" fmla="*/ 272537 h 329223"/>
                <a:gd name="connsiteX24" fmla="*/ 197614 w 336564"/>
                <a:gd name="connsiteY24" fmla="*/ 174091 h 329223"/>
                <a:gd name="connsiteX25" fmla="*/ 110141 w 336564"/>
                <a:gd name="connsiteY25" fmla="*/ 174091 h 329223"/>
                <a:gd name="connsiteX26" fmla="*/ 154562 w 336564"/>
                <a:gd name="connsiteY26" fmla="*/ 60129 h 3292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336564" h="329223">
                  <a:moveTo>
                    <a:pt x="197272" y="0"/>
                  </a:moveTo>
                  <a:lnTo>
                    <a:pt x="147450" y="0"/>
                  </a:lnTo>
                  <a:lnTo>
                    <a:pt x="40580" y="267289"/>
                  </a:lnTo>
                  <a:cubicBezTo>
                    <a:pt x="27896" y="298912"/>
                    <a:pt x="25595" y="304617"/>
                    <a:pt x="4241" y="306119"/>
                  </a:cubicBezTo>
                  <a:lnTo>
                    <a:pt x="0" y="306405"/>
                  </a:lnTo>
                  <a:lnTo>
                    <a:pt x="0" y="329224"/>
                  </a:lnTo>
                  <a:lnTo>
                    <a:pt x="92171" y="329224"/>
                  </a:lnTo>
                  <a:lnTo>
                    <a:pt x="92171" y="306576"/>
                  </a:lnTo>
                  <a:lnTo>
                    <a:pt x="88025" y="306214"/>
                  </a:lnTo>
                  <a:cubicBezTo>
                    <a:pt x="70911" y="304313"/>
                    <a:pt x="66936" y="297809"/>
                    <a:pt x="67469" y="290602"/>
                  </a:cubicBezTo>
                  <a:cubicBezTo>
                    <a:pt x="67811" y="286096"/>
                    <a:pt x="69161" y="280790"/>
                    <a:pt x="72394" y="272081"/>
                  </a:cubicBezTo>
                  <a:lnTo>
                    <a:pt x="97115" y="208263"/>
                  </a:lnTo>
                  <a:lnTo>
                    <a:pt x="210716" y="208263"/>
                  </a:lnTo>
                  <a:lnTo>
                    <a:pt x="235437" y="271929"/>
                  </a:lnTo>
                  <a:cubicBezTo>
                    <a:pt x="239411" y="283205"/>
                    <a:pt x="240286" y="285392"/>
                    <a:pt x="241807" y="291991"/>
                  </a:cubicBezTo>
                  <a:lnTo>
                    <a:pt x="241960" y="292751"/>
                  </a:lnTo>
                  <a:cubicBezTo>
                    <a:pt x="242587" y="295370"/>
                    <a:pt x="241961" y="298131"/>
                    <a:pt x="240267" y="300224"/>
                  </a:cubicBezTo>
                  <a:cubicBezTo>
                    <a:pt x="237871" y="303229"/>
                    <a:pt x="231957" y="305035"/>
                    <a:pt x="221879" y="305815"/>
                  </a:cubicBezTo>
                  <a:lnTo>
                    <a:pt x="217695" y="306138"/>
                  </a:lnTo>
                  <a:lnTo>
                    <a:pt x="217695" y="329148"/>
                  </a:lnTo>
                  <a:lnTo>
                    <a:pt x="336564" y="329148"/>
                  </a:lnTo>
                  <a:lnTo>
                    <a:pt x="336564" y="306557"/>
                  </a:lnTo>
                  <a:lnTo>
                    <a:pt x="332229" y="306329"/>
                  </a:lnTo>
                  <a:cubicBezTo>
                    <a:pt x="311901" y="305397"/>
                    <a:pt x="310056" y="300377"/>
                    <a:pt x="299901" y="272537"/>
                  </a:cubicBezTo>
                  <a:close/>
                  <a:moveTo>
                    <a:pt x="197614" y="174091"/>
                  </a:moveTo>
                  <a:lnTo>
                    <a:pt x="110141" y="174091"/>
                  </a:lnTo>
                  <a:lnTo>
                    <a:pt x="154562" y="60129"/>
                  </a:lnTo>
                  <a:close/>
                </a:path>
              </a:pathLst>
            </a:custGeom>
            <a:solidFill>
              <a:srgbClr val="000000"/>
            </a:solidFill>
            <a:ln w="190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13" name="Freihandform: Form 12">
              <a:extLst>
                <a:ext uri="{FF2B5EF4-FFF2-40B4-BE49-F238E27FC236}">
                  <a16:creationId xmlns:a16="http://schemas.microsoft.com/office/drawing/2014/main" id="{F4478C33-4DE7-48E1-878B-B4AFCDE1C843}"/>
                </a:ext>
              </a:extLst>
            </p:cNvPr>
            <p:cNvSpPr/>
            <p:nvPr/>
          </p:nvSpPr>
          <p:spPr>
            <a:xfrm>
              <a:off x="10972339" y="330434"/>
              <a:ext cx="355447" cy="345976"/>
            </a:xfrm>
            <a:custGeom>
              <a:avLst/>
              <a:gdLst>
                <a:gd name="connsiteX0" fmla="*/ 177724 w 355447"/>
                <a:gd name="connsiteY0" fmla="*/ 0 h 345976"/>
                <a:gd name="connsiteX1" fmla="*/ 0 w 355447"/>
                <a:gd name="connsiteY1" fmla="*/ 181755 h 345976"/>
                <a:gd name="connsiteX2" fmla="*/ 175822 w 355447"/>
                <a:gd name="connsiteY2" fmla="*/ 345977 h 345976"/>
                <a:gd name="connsiteX3" fmla="*/ 355447 w 355447"/>
                <a:gd name="connsiteY3" fmla="*/ 167322 h 345976"/>
                <a:gd name="connsiteX4" fmla="*/ 177724 w 355447"/>
                <a:gd name="connsiteY4" fmla="*/ 0 h 345976"/>
                <a:gd name="connsiteX5" fmla="*/ 288948 w 355447"/>
                <a:gd name="connsiteY5" fmla="*/ 180196 h 345976"/>
                <a:gd name="connsiteX6" fmla="*/ 183409 w 355447"/>
                <a:gd name="connsiteY6" fmla="*/ 320381 h 345976"/>
                <a:gd name="connsiteX7" fmla="*/ 66518 w 355447"/>
                <a:gd name="connsiteY7" fmla="*/ 167835 h 345976"/>
                <a:gd name="connsiteX8" fmla="*/ 173920 w 355447"/>
                <a:gd name="connsiteY8" fmla="*/ 25577 h 345976"/>
                <a:gd name="connsiteX9" fmla="*/ 288948 w 355447"/>
                <a:gd name="connsiteY9" fmla="*/ 180196 h 3459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55447" h="345976">
                  <a:moveTo>
                    <a:pt x="177724" y="0"/>
                  </a:moveTo>
                  <a:cubicBezTo>
                    <a:pt x="74676" y="0"/>
                    <a:pt x="0" y="76425"/>
                    <a:pt x="0" y="181755"/>
                  </a:cubicBezTo>
                  <a:cubicBezTo>
                    <a:pt x="0" y="276835"/>
                    <a:pt x="73953" y="345977"/>
                    <a:pt x="175822" y="345977"/>
                  </a:cubicBezTo>
                  <a:cubicBezTo>
                    <a:pt x="278223" y="345977"/>
                    <a:pt x="355447" y="269171"/>
                    <a:pt x="355447" y="167322"/>
                  </a:cubicBezTo>
                  <a:cubicBezTo>
                    <a:pt x="355447" y="68800"/>
                    <a:pt x="282369" y="0"/>
                    <a:pt x="177724" y="0"/>
                  </a:cubicBezTo>
                  <a:close/>
                  <a:moveTo>
                    <a:pt x="288948" y="180196"/>
                  </a:moveTo>
                  <a:cubicBezTo>
                    <a:pt x="288948" y="264056"/>
                    <a:pt x="246543" y="320381"/>
                    <a:pt x="183409" y="320381"/>
                  </a:cubicBezTo>
                  <a:cubicBezTo>
                    <a:pt x="125316" y="320381"/>
                    <a:pt x="66518" y="267973"/>
                    <a:pt x="66518" y="167835"/>
                  </a:cubicBezTo>
                  <a:cubicBezTo>
                    <a:pt x="66518" y="80095"/>
                    <a:pt x="107669" y="25577"/>
                    <a:pt x="173920" y="25577"/>
                  </a:cubicBezTo>
                  <a:cubicBezTo>
                    <a:pt x="241636" y="25577"/>
                    <a:pt x="288948" y="89166"/>
                    <a:pt x="288948" y="180196"/>
                  </a:cubicBezTo>
                  <a:close/>
                </a:path>
              </a:pathLst>
            </a:custGeom>
            <a:solidFill>
              <a:srgbClr val="000000"/>
            </a:solidFill>
            <a:ln w="190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15" name="Freihandform: Form 14">
              <a:extLst>
                <a:ext uri="{FF2B5EF4-FFF2-40B4-BE49-F238E27FC236}">
                  <a16:creationId xmlns:a16="http://schemas.microsoft.com/office/drawing/2014/main" id="{ED1EB51D-7F27-4FE9-88E5-C9AA3C678DEF}"/>
                </a:ext>
              </a:extLst>
            </p:cNvPr>
            <p:cNvSpPr/>
            <p:nvPr/>
          </p:nvSpPr>
          <p:spPr>
            <a:xfrm>
              <a:off x="10629233" y="330434"/>
              <a:ext cx="319735" cy="345976"/>
            </a:xfrm>
            <a:custGeom>
              <a:avLst/>
              <a:gdLst>
                <a:gd name="connsiteX0" fmla="*/ 319735 w 319735"/>
                <a:gd name="connsiteY0" fmla="*/ 268620 h 345976"/>
                <a:gd name="connsiteX1" fmla="*/ 293455 w 319735"/>
                <a:gd name="connsiteY1" fmla="*/ 268943 h 345976"/>
                <a:gd name="connsiteX2" fmla="*/ 292143 w 319735"/>
                <a:gd name="connsiteY2" fmla="*/ 270750 h 345976"/>
                <a:gd name="connsiteX3" fmla="*/ 193260 w 319735"/>
                <a:gd name="connsiteY3" fmla="*/ 318290 h 345976"/>
                <a:gd name="connsiteX4" fmla="*/ 114134 w 319735"/>
                <a:gd name="connsiteY4" fmla="*/ 286875 h 345976"/>
                <a:gd name="connsiteX5" fmla="*/ 67792 w 319735"/>
                <a:gd name="connsiteY5" fmla="*/ 165743 h 345976"/>
                <a:gd name="connsiteX6" fmla="*/ 184588 w 319735"/>
                <a:gd name="connsiteY6" fmla="*/ 25538 h 345976"/>
                <a:gd name="connsiteX7" fmla="*/ 291382 w 319735"/>
                <a:gd name="connsiteY7" fmla="*/ 81864 h 345976"/>
                <a:gd name="connsiteX8" fmla="*/ 292675 w 319735"/>
                <a:gd name="connsiteY8" fmla="*/ 84412 h 345976"/>
                <a:gd name="connsiteX9" fmla="*/ 314449 w 319735"/>
                <a:gd name="connsiteY9" fmla="*/ 84070 h 345976"/>
                <a:gd name="connsiteX10" fmla="*/ 312338 w 319735"/>
                <a:gd name="connsiteY10" fmla="*/ 14851 h 345976"/>
                <a:gd name="connsiteX11" fmla="*/ 294482 w 319735"/>
                <a:gd name="connsiteY11" fmla="*/ 14851 h 345976"/>
                <a:gd name="connsiteX12" fmla="*/ 293550 w 319735"/>
                <a:gd name="connsiteY12" fmla="*/ 15479 h 345976"/>
                <a:gd name="connsiteX13" fmla="*/ 286761 w 319735"/>
                <a:gd name="connsiteY13" fmla="*/ 16981 h 345976"/>
                <a:gd name="connsiteX14" fmla="*/ 266053 w 319735"/>
                <a:gd name="connsiteY14" fmla="*/ 12608 h 345976"/>
                <a:gd name="connsiteX15" fmla="*/ 182668 w 319735"/>
                <a:gd name="connsiteY15" fmla="*/ 0 h 345976"/>
                <a:gd name="connsiteX16" fmla="*/ 0 w 319735"/>
                <a:gd name="connsiteY16" fmla="*/ 179150 h 345976"/>
                <a:gd name="connsiteX17" fmla="*/ 178750 w 319735"/>
                <a:gd name="connsiteY17" fmla="*/ 345977 h 345976"/>
                <a:gd name="connsiteX18" fmla="*/ 242682 w 319735"/>
                <a:gd name="connsiteY18" fmla="*/ 338580 h 345976"/>
                <a:gd name="connsiteX19" fmla="*/ 275865 w 319735"/>
                <a:gd name="connsiteY19" fmla="*/ 334111 h 345976"/>
                <a:gd name="connsiteX20" fmla="*/ 280733 w 319735"/>
                <a:gd name="connsiteY20" fmla="*/ 333959 h 345976"/>
                <a:gd name="connsiteX21" fmla="*/ 291458 w 319735"/>
                <a:gd name="connsiteY21" fmla="*/ 334206 h 345976"/>
                <a:gd name="connsiteX22" fmla="*/ 296345 w 319735"/>
                <a:gd name="connsiteY22" fmla="*/ 334681 h 3459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319735" h="345976">
                  <a:moveTo>
                    <a:pt x="319735" y="268620"/>
                  </a:moveTo>
                  <a:lnTo>
                    <a:pt x="293455" y="268943"/>
                  </a:lnTo>
                  <a:lnTo>
                    <a:pt x="292143" y="270750"/>
                  </a:lnTo>
                  <a:cubicBezTo>
                    <a:pt x="265520" y="303533"/>
                    <a:pt x="237700" y="316863"/>
                    <a:pt x="193260" y="318290"/>
                  </a:cubicBezTo>
                  <a:cubicBezTo>
                    <a:pt x="163614" y="319355"/>
                    <a:pt x="136345" y="308382"/>
                    <a:pt x="114134" y="286875"/>
                  </a:cubicBezTo>
                  <a:cubicBezTo>
                    <a:pt x="84678" y="258351"/>
                    <a:pt x="67792" y="214215"/>
                    <a:pt x="67792" y="165743"/>
                  </a:cubicBezTo>
                  <a:cubicBezTo>
                    <a:pt x="67792" y="81883"/>
                    <a:pt x="114724" y="25538"/>
                    <a:pt x="184588" y="25538"/>
                  </a:cubicBezTo>
                  <a:cubicBezTo>
                    <a:pt x="233612" y="25538"/>
                    <a:pt x="274534" y="47103"/>
                    <a:pt x="291382" y="81864"/>
                  </a:cubicBezTo>
                  <a:lnTo>
                    <a:pt x="292675" y="84412"/>
                  </a:lnTo>
                  <a:lnTo>
                    <a:pt x="314449" y="84070"/>
                  </a:lnTo>
                  <a:lnTo>
                    <a:pt x="312338" y="14851"/>
                  </a:lnTo>
                  <a:lnTo>
                    <a:pt x="294482" y="14851"/>
                  </a:lnTo>
                  <a:lnTo>
                    <a:pt x="293550" y="15479"/>
                  </a:lnTo>
                  <a:cubicBezTo>
                    <a:pt x="291498" y="16674"/>
                    <a:pt x="289125" y="17199"/>
                    <a:pt x="286761" y="16981"/>
                  </a:cubicBezTo>
                  <a:cubicBezTo>
                    <a:pt x="282559" y="16829"/>
                    <a:pt x="275352" y="15080"/>
                    <a:pt x="266053" y="12608"/>
                  </a:cubicBezTo>
                  <a:cubicBezTo>
                    <a:pt x="246999" y="7606"/>
                    <a:pt x="218114" y="0"/>
                    <a:pt x="182668" y="0"/>
                  </a:cubicBezTo>
                  <a:cubicBezTo>
                    <a:pt x="56478" y="0"/>
                    <a:pt x="0" y="89965"/>
                    <a:pt x="0" y="179150"/>
                  </a:cubicBezTo>
                  <a:cubicBezTo>
                    <a:pt x="0" y="280486"/>
                    <a:pt x="70169" y="345977"/>
                    <a:pt x="178750" y="345977"/>
                  </a:cubicBezTo>
                  <a:cubicBezTo>
                    <a:pt x="203015" y="345977"/>
                    <a:pt x="224940" y="341888"/>
                    <a:pt x="242682" y="338580"/>
                  </a:cubicBezTo>
                  <a:cubicBezTo>
                    <a:pt x="254643" y="336336"/>
                    <a:pt x="266167" y="334320"/>
                    <a:pt x="275865" y="334111"/>
                  </a:cubicBezTo>
                  <a:cubicBezTo>
                    <a:pt x="277995" y="334111"/>
                    <a:pt x="279478" y="334111"/>
                    <a:pt x="280733" y="333959"/>
                  </a:cubicBezTo>
                  <a:cubicBezTo>
                    <a:pt x="284310" y="333862"/>
                    <a:pt x="287889" y="333944"/>
                    <a:pt x="291458" y="334206"/>
                  </a:cubicBezTo>
                  <a:lnTo>
                    <a:pt x="296345" y="334681"/>
                  </a:lnTo>
                  <a:close/>
                </a:path>
              </a:pathLst>
            </a:custGeom>
            <a:solidFill>
              <a:srgbClr val="000000"/>
            </a:solidFill>
            <a:ln w="190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342552263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1FD5C9B0-1B07-4EBC-906A-D849907DEDC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1FD5C9B0-1B07-4EBC-906A-D849907DED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61F9098E-7D0E-4766-9BC5-644ACA3F13E5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635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rtl="0"/>
            <a:endParaRPr lang="en-GB" sz="2200" b="1" i="0" baseline="0">
              <a:solidFill>
                <a:schemeClr val="tx1"/>
              </a:solidFill>
              <a:latin typeface="Arial" panose="020B0604020202020204" pitchFamily="34" charset="0"/>
              <a:ea typeface="Malgun Gothic Semilight" panose="020B0502040204020203" pitchFamily="34" charset="-128"/>
              <a:cs typeface="Malgun Gothic Semilight" panose="020B0502040204020203" pitchFamily="34" charset="-128"/>
              <a:sym typeface="Arial" panose="020B0604020202020204" pitchFamily="34" charset="0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34E8994-30E7-42C9-8B97-D389F537197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87541" y="6633547"/>
            <a:ext cx="125034" cy="123111"/>
          </a:xfrm>
          <a:prstGeom prst="rect">
            <a:avLst/>
          </a:prstGeom>
        </p:spPr>
        <p:txBody>
          <a:bodyPr/>
          <a:lstStyle>
            <a:lvl1pPr algn="r" rtl="0">
              <a:defRPr/>
            </a:lvl1pPr>
          </a:lstStyle>
          <a:p>
            <a:fld id="{C50CBA42-791E-4851-9FB4-39A223136DC3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5" name="Textplatzhalter 14">
            <a:extLst>
              <a:ext uri="{FF2B5EF4-FFF2-40B4-BE49-F238E27FC236}">
                <a16:creationId xmlns:a16="http://schemas.microsoft.com/office/drawing/2014/main" id="{BB8EC43E-B232-4253-AFDF-4EF8A3B5B7F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79424" y="371143"/>
            <a:ext cx="9509760" cy="215444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/>
              <a:t>Kapitelüberschrift eingeben</a:t>
            </a:r>
          </a:p>
        </p:txBody>
      </p:sp>
      <p:sp>
        <p:nvSpPr>
          <p:cNvPr id="25" name="Content Placeholder 24">
            <a:extLst>
              <a:ext uri="{FF2B5EF4-FFF2-40B4-BE49-F238E27FC236}">
                <a16:creationId xmlns:a16="http://schemas.microsoft.com/office/drawing/2014/main" id="{37A2152B-E3B7-40B3-890F-10D4484D682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479423" y="1775816"/>
            <a:ext cx="11233150" cy="4510684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GB"/>
              <a:t>Mastertextformat bearbeiten</a:t>
            </a:r>
          </a:p>
          <a:p>
            <a:pPr lvl="1"/>
            <a:r>
              <a:rPr lang="en-GB"/>
              <a:t>Zweite Ebene</a:t>
            </a:r>
          </a:p>
          <a:p>
            <a:pPr lvl="2"/>
            <a:r>
              <a:rPr lang="en-GB"/>
              <a:t>Dritte Ebene</a:t>
            </a:r>
          </a:p>
          <a:p>
            <a:pPr lvl="3"/>
            <a:r>
              <a:rPr lang="en-GB"/>
              <a:t>Vierte Ebene</a:t>
            </a:r>
          </a:p>
          <a:p>
            <a:pPr lvl="4"/>
            <a:r>
              <a:rPr lang="en-GB"/>
              <a:t>Fünfte Ebene</a:t>
            </a:r>
          </a:p>
        </p:txBody>
      </p:sp>
      <p:sp>
        <p:nvSpPr>
          <p:cNvPr id="11" name="Fußzeilenplatzhalter 2">
            <a:extLst>
              <a:ext uri="{FF2B5EF4-FFF2-40B4-BE49-F238E27FC236}">
                <a16:creationId xmlns:a16="http://schemas.microsoft.com/office/drawing/2014/main" id="{53712EDA-C950-4774-86F3-2E0D9426DA8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 flipH="1">
            <a:off x="479423" y="6633547"/>
            <a:ext cx="7246798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rtl="0">
              <a:defRPr lang="de-DE" sz="800">
                <a:solidFill>
                  <a:schemeClr val="tx2"/>
                </a:solidFill>
              </a:defRPr>
            </a:lvl1pPr>
          </a:lstStyle>
          <a:p>
            <a:r>
              <a:rPr lang="en-GB"/>
              <a:t>Senacor  |  Deutsche Bank  |  Request for Proposal – Miles &amp; More // Mobile app solution development </a:t>
            </a:r>
          </a:p>
        </p:txBody>
      </p:sp>
      <p:sp>
        <p:nvSpPr>
          <p:cNvPr id="12" name="Titelplatzhalter 1">
            <a:extLst>
              <a:ext uri="{FF2B5EF4-FFF2-40B4-BE49-F238E27FC236}">
                <a16:creationId xmlns:a16="http://schemas.microsoft.com/office/drawing/2014/main" id="{14F2448F-01E3-414B-858D-35126C2EF5C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720000"/>
            <a:ext cx="11233150" cy="609398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rtl="0">
              <a:defRPr/>
            </a:lvl1pPr>
          </a:lstStyle>
          <a:p>
            <a:r>
              <a:rPr lang="en-GB" noProof="0"/>
              <a:t>Mastertitelformat bearbeiten</a:t>
            </a:r>
          </a:p>
        </p:txBody>
      </p:sp>
      <p:sp>
        <p:nvSpPr>
          <p:cNvPr id="13" name="Datumsplatzhalter 3">
            <a:extLst>
              <a:ext uri="{FF2B5EF4-FFF2-40B4-BE49-F238E27FC236}">
                <a16:creationId xmlns:a16="http://schemas.microsoft.com/office/drawing/2014/main" id="{2B651C6A-0655-409F-86BD-827CFDE5159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182100" y="6633547"/>
            <a:ext cx="125012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 rtl="0">
              <a:defRPr sz="800">
                <a:solidFill>
                  <a:schemeClr val="tx2"/>
                </a:solidFill>
              </a:defRPr>
            </a:lvl1pPr>
          </a:lstStyle>
          <a:p>
            <a:r>
              <a:rPr lang="de-DE"/>
              <a:t>August 2023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741569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Kapiteltrenn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F03889B5-5769-4D31-B1F9-4724D3A628C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F03889B5-5769-4D31-B1F9-4724D3A628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>
            <a:extLst>
              <a:ext uri="{FF2B5EF4-FFF2-40B4-BE49-F238E27FC236}">
                <a16:creationId xmlns:a16="http://schemas.microsoft.com/office/drawing/2014/main" id="{7E9E9310-804D-43C9-A137-B7D9C63A9A10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rtl="0"/>
            <a:endParaRPr lang="en-GB" sz="3600" b="1" i="0" baseline="0">
              <a:latin typeface="Arial" panose="020B0604020202020204" pitchFamily="34" charset="0"/>
              <a:ea typeface="Malgun Gothic Semilight" panose="020B0502040204020203" pitchFamily="34" charset="-128"/>
              <a:cs typeface="Malgun Gothic Semilight" panose="020B0502040204020203" pitchFamily="34" charset="-128"/>
              <a:sym typeface="Arial" panose="020B060402020202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18F5DC52-C560-4903-AA44-0497E08EA68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79425" y="2621920"/>
            <a:ext cx="9180513" cy="997196"/>
          </a:xfrm>
        </p:spPr>
        <p:txBody>
          <a:bodyPr vert="horz" lIns="0" tIns="0" rIns="0" bIns="0" anchor="b">
            <a:noAutofit/>
          </a:bodyPr>
          <a:lstStyle>
            <a:lvl1pPr algn="l" rtl="0">
              <a:defRPr sz="3600" b="1" cap="all" baseline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GB"/>
              <a:t>Click to add title</a:t>
            </a:r>
            <a:br>
              <a:rPr lang="en-GB"/>
            </a:br>
            <a:r>
              <a:rPr lang="en-GB"/>
              <a:t>36 pt. Bold, caps 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805457E3-5FFF-4E34-B755-5A5C2B372EC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79425" y="3869599"/>
            <a:ext cx="9180513" cy="276999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cap="none" baseline="0">
                <a:solidFill>
                  <a:schemeClr val="accent4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add subtitle, 18 pt. Regular</a:t>
            </a:r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0E741EA5-5CD3-4B6D-A654-564CC372A38B}"/>
              </a:ext>
            </a:extLst>
          </p:cNvPr>
          <p:cNvSpPr/>
          <p:nvPr/>
        </p:nvSpPr>
        <p:spPr>
          <a:xfrm>
            <a:off x="479425" y="3726357"/>
            <a:ext cx="684000" cy="36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GB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38944C8D-D9EC-4203-8448-92999CA02E3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fld id="{C50CBA42-791E-4851-9FB4-39A223136DC3}" type="slidenum">
              <a:rPr lang="en-GB" smtClean="0"/>
              <a:pPr/>
              <a:t>‹#›</a:t>
            </a:fld>
            <a:endParaRPr lang="en-GB"/>
          </a:p>
        </p:txBody>
      </p:sp>
      <p:grpSp>
        <p:nvGrpSpPr>
          <p:cNvPr id="22" name="Gruppieren 21">
            <a:extLst>
              <a:ext uri="{FF2B5EF4-FFF2-40B4-BE49-F238E27FC236}">
                <a16:creationId xmlns:a16="http://schemas.microsoft.com/office/drawing/2014/main" id="{9AB7CE62-4546-4E27-A806-78B8C0A61D99}"/>
              </a:ext>
            </a:extLst>
          </p:cNvPr>
          <p:cNvGrpSpPr/>
          <p:nvPr userDrawn="1"/>
        </p:nvGrpSpPr>
        <p:grpSpPr>
          <a:xfrm>
            <a:off x="10240056" y="330434"/>
            <a:ext cx="1472671" cy="212964"/>
            <a:chOff x="10240056" y="330434"/>
            <a:chExt cx="1472671" cy="212964"/>
          </a:xfrm>
        </p:grpSpPr>
        <p:sp>
          <p:nvSpPr>
            <p:cNvPr id="23" name="Freihandform: Form 22">
              <a:extLst>
                <a:ext uri="{FF2B5EF4-FFF2-40B4-BE49-F238E27FC236}">
                  <a16:creationId xmlns:a16="http://schemas.microsoft.com/office/drawing/2014/main" id="{4F4EEA07-6039-493D-8B8C-854E192D43F0}"/>
                </a:ext>
              </a:extLst>
            </p:cNvPr>
            <p:cNvSpPr/>
            <p:nvPr/>
          </p:nvSpPr>
          <p:spPr>
            <a:xfrm>
              <a:off x="10602134" y="335724"/>
              <a:ext cx="213948" cy="204724"/>
            </a:xfrm>
            <a:custGeom>
              <a:avLst/>
              <a:gdLst>
                <a:gd name="connsiteX0" fmla="*/ 160491 w 213948"/>
                <a:gd name="connsiteY0" fmla="*/ 14175 h 204724"/>
                <a:gd name="connsiteX1" fmla="*/ 163136 w 213948"/>
                <a:gd name="connsiteY1" fmla="*/ 14327 h 204724"/>
                <a:gd name="connsiteX2" fmla="*/ 176854 w 213948"/>
                <a:gd name="connsiteY2" fmla="*/ 36064 h 204724"/>
                <a:gd name="connsiteX3" fmla="*/ 176854 w 213948"/>
                <a:gd name="connsiteY3" fmla="*/ 144712 h 204724"/>
                <a:gd name="connsiteX4" fmla="*/ 49408 w 213948"/>
                <a:gd name="connsiteY4" fmla="*/ 0 h 204724"/>
                <a:gd name="connsiteX5" fmla="*/ 4834 w 213948"/>
                <a:gd name="connsiteY5" fmla="*/ 0 h 204724"/>
                <a:gd name="connsiteX6" fmla="*/ 4834 w 213948"/>
                <a:gd name="connsiteY6" fmla="*/ 13894 h 204724"/>
                <a:gd name="connsiteX7" fmla="*/ 7292 w 213948"/>
                <a:gd name="connsiteY7" fmla="*/ 14140 h 204724"/>
                <a:gd name="connsiteX8" fmla="*/ 16727 w 213948"/>
                <a:gd name="connsiteY8" fmla="*/ 21163 h 204724"/>
                <a:gd name="connsiteX9" fmla="*/ 16727 w 213948"/>
                <a:gd name="connsiteY9" fmla="*/ 164821 h 204724"/>
                <a:gd name="connsiteX10" fmla="*/ 2681 w 213948"/>
                <a:gd name="connsiteY10" fmla="*/ 188372 h 204724"/>
                <a:gd name="connsiteX11" fmla="*/ 0 w 213948"/>
                <a:gd name="connsiteY11" fmla="*/ 188513 h 204724"/>
                <a:gd name="connsiteX12" fmla="*/ 0 w 213948"/>
                <a:gd name="connsiteY12" fmla="*/ 202559 h 204724"/>
                <a:gd name="connsiteX13" fmla="*/ 54523 w 213948"/>
                <a:gd name="connsiteY13" fmla="*/ 202559 h 204724"/>
                <a:gd name="connsiteX14" fmla="*/ 54523 w 213948"/>
                <a:gd name="connsiteY14" fmla="*/ 188665 h 204724"/>
                <a:gd name="connsiteX15" fmla="*/ 51936 w 213948"/>
                <a:gd name="connsiteY15" fmla="*/ 188466 h 204724"/>
                <a:gd name="connsiteX16" fmla="*/ 38580 w 213948"/>
                <a:gd name="connsiteY16" fmla="*/ 162457 h 204724"/>
                <a:gd name="connsiteX17" fmla="*/ 38580 w 213948"/>
                <a:gd name="connsiteY17" fmla="*/ 46048 h 204724"/>
                <a:gd name="connsiteX18" fmla="*/ 177873 w 213948"/>
                <a:gd name="connsiteY18" fmla="*/ 203776 h 204724"/>
                <a:gd name="connsiteX19" fmla="*/ 178716 w 213948"/>
                <a:gd name="connsiteY19" fmla="*/ 204724 h 204724"/>
                <a:gd name="connsiteX20" fmla="*/ 198708 w 213948"/>
                <a:gd name="connsiteY20" fmla="*/ 204724 h 204724"/>
                <a:gd name="connsiteX21" fmla="*/ 198708 w 213948"/>
                <a:gd name="connsiteY21" fmla="*/ 39271 h 204724"/>
                <a:gd name="connsiteX22" fmla="*/ 211373 w 213948"/>
                <a:gd name="connsiteY22" fmla="*/ 14421 h 204724"/>
                <a:gd name="connsiteX23" fmla="*/ 213948 w 213948"/>
                <a:gd name="connsiteY23" fmla="*/ 14198 h 204724"/>
                <a:gd name="connsiteX24" fmla="*/ 213948 w 213948"/>
                <a:gd name="connsiteY24" fmla="*/ 0 h 204724"/>
                <a:gd name="connsiteX25" fmla="*/ 160491 w 213948"/>
                <a:gd name="connsiteY25" fmla="*/ 0 h 2047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213948" h="204724">
                  <a:moveTo>
                    <a:pt x="160491" y="14175"/>
                  </a:moveTo>
                  <a:lnTo>
                    <a:pt x="163136" y="14327"/>
                  </a:lnTo>
                  <a:cubicBezTo>
                    <a:pt x="176878" y="15111"/>
                    <a:pt x="176878" y="17909"/>
                    <a:pt x="176854" y="36064"/>
                  </a:cubicBezTo>
                  <a:lnTo>
                    <a:pt x="176854" y="144712"/>
                  </a:lnTo>
                  <a:lnTo>
                    <a:pt x="49408" y="0"/>
                  </a:lnTo>
                  <a:lnTo>
                    <a:pt x="4834" y="0"/>
                  </a:lnTo>
                  <a:lnTo>
                    <a:pt x="4834" y="13894"/>
                  </a:lnTo>
                  <a:lnTo>
                    <a:pt x="7292" y="14140"/>
                  </a:lnTo>
                  <a:cubicBezTo>
                    <a:pt x="14655" y="14643"/>
                    <a:pt x="16586" y="17101"/>
                    <a:pt x="16727" y="21163"/>
                  </a:cubicBezTo>
                  <a:lnTo>
                    <a:pt x="16727" y="164821"/>
                  </a:lnTo>
                  <a:cubicBezTo>
                    <a:pt x="16727" y="182882"/>
                    <a:pt x="16727" y="187728"/>
                    <a:pt x="2681" y="188372"/>
                  </a:cubicBezTo>
                  <a:lnTo>
                    <a:pt x="0" y="188513"/>
                  </a:lnTo>
                  <a:lnTo>
                    <a:pt x="0" y="202559"/>
                  </a:lnTo>
                  <a:lnTo>
                    <a:pt x="54523" y="202559"/>
                  </a:lnTo>
                  <a:lnTo>
                    <a:pt x="54523" y="188665"/>
                  </a:lnTo>
                  <a:lnTo>
                    <a:pt x="51936" y="188466"/>
                  </a:lnTo>
                  <a:cubicBezTo>
                    <a:pt x="38557" y="187424"/>
                    <a:pt x="38569" y="182145"/>
                    <a:pt x="38580" y="162457"/>
                  </a:cubicBezTo>
                  <a:lnTo>
                    <a:pt x="38580" y="46048"/>
                  </a:lnTo>
                  <a:lnTo>
                    <a:pt x="177873" y="203776"/>
                  </a:lnTo>
                  <a:lnTo>
                    <a:pt x="178716" y="204724"/>
                  </a:lnTo>
                  <a:lnTo>
                    <a:pt x="198708" y="204724"/>
                  </a:lnTo>
                  <a:lnTo>
                    <a:pt x="198708" y="39271"/>
                  </a:lnTo>
                  <a:cubicBezTo>
                    <a:pt x="198708" y="19080"/>
                    <a:pt x="199797" y="15521"/>
                    <a:pt x="211373" y="14421"/>
                  </a:cubicBezTo>
                  <a:lnTo>
                    <a:pt x="213948" y="14198"/>
                  </a:lnTo>
                  <a:lnTo>
                    <a:pt x="213948" y="0"/>
                  </a:lnTo>
                  <a:lnTo>
                    <a:pt x="160491" y="0"/>
                  </a:lnTo>
                  <a:close/>
                </a:path>
              </a:pathLst>
            </a:custGeom>
            <a:solidFill>
              <a:srgbClr val="000000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24" name="Freihandform: Form 23">
              <a:extLst>
                <a:ext uri="{FF2B5EF4-FFF2-40B4-BE49-F238E27FC236}">
                  <a16:creationId xmlns:a16="http://schemas.microsoft.com/office/drawing/2014/main" id="{E8790356-F41B-40CD-910B-D2B214C8B363}"/>
                </a:ext>
              </a:extLst>
            </p:cNvPr>
            <p:cNvSpPr/>
            <p:nvPr/>
          </p:nvSpPr>
          <p:spPr>
            <a:xfrm>
              <a:off x="10240056" y="330434"/>
              <a:ext cx="150166" cy="212964"/>
            </a:xfrm>
            <a:custGeom>
              <a:avLst/>
              <a:gdLst>
                <a:gd name="connsiteX0" fmla="*/ 87918 w 150166"/>
                <a:gd name="connsiteY0" fmla="*/ 86267 h 212964"/>
                <a:gd name="connsiteX1" fmla="*/ 87918 w 150166"/>
                <a:gd name="connsiteY1" fmla="*/ 86267 h 212964"/>
                <a:gd name="connsiteX2" fmla="*/ 43309 w 150166"/>
                <a:gd name="connsiteY2" fmla="*/ 46282 h 212964"/>
                <a:gd name="connsiteX3" fmla="*/ 73427 w 150166"/>
                <a:gd name="connsiteY3" fmla="*/ 17078 h 212964"/>
                <a:gd name="connsiteX4" fmla="*/ 120248 w 150166"/>
                <a:gd name="connsiteY4" fmla="*/ 39739 h 212964"/>
                <a:gd name="connsiteX5" fmla="*/ 121032 w 150166"/>
                <a:gd name="connsiteY5" fmla="*/ 41331 h 212964"/>
                <a:gd name="connsiteX6" fmla="*/ 136109 w 150166"/>
                <a:gd name="connsiteY6" fmla="*/ 41167 h 212964"/>
                <a:gd name="connsiteX7" fmla="*/ 129589 w 150166"/>
                <a:gd name="connsiteY7" fmla="*/ 3078 h 212964"/>
                <a:gd name="connsiteX8" fmla="*/ 120026 w 150166"/>
                <a:gd name="connsiteY8" fmla="*/ 3078 h 212964"/>
                <a:gd name="connsiteX9" fmla="*/ 118551 w 150166"/>
                <a:gd name="connsiteY9" fmla="*/ 3746 h 212964"/>
                <a:gd name="connsiteX10" fmla="*/ 110977 w 150166"/>
                <a:gd name="connsiteY10" fmla="*/ 5384 h 212964"/>
                <a:gd name="connsiteX11" fmla="*/ 101438 w 150166"/>
                <a:gd name="connsiteY11" fmla="*/ 3804 h 212964"/>
                <a:gd name="connsiteX12" fmla="*/ 95807 w 150166"/>
                <a:gd name="connsiteY12" fmla="*/ 2634 h 212964"/>
                <a:gd name="connsiteX13" fmla="*/ 69412 w 150166"/>
                <a:gd name="connsiteY13" fmla="*/ 0 h 212964"/>
                <a:gd name="connsiteX14" fmla="*/ 5103 w 150166"/>
                <a:gd name="connsiteY14" fmla="*/ 55096 h 212964"/>
                <a:gd name="connsiteX15" fmla="*/ 63817 w 150166"/>
                <a:gd name="connsiteY15" fmla="*/ 117415 h 212964"/>
                <a:gd name="connsiteX16" fmla="*/ 110966 w 150166"/>
                <a:gd name="connsiteY16" fmla="*/ 162094 h 212964"/>
                <a:gd name="connsiteX17" fmla="*/ 72093 w 150166"/>
                <a:gd name="connsiteY17" fmla="*/ 193944 h 212964"/>
                <a:gd name="connsiteX18" fmla="*/ 15030 w 150166"/>
                <a:gd name="connsiteY18" fmla="*/ 167174 h 212964"/>
                <a:gd name="connsiteX19" fmla="*/ 14327 w 150166"/>
                <a:gd name="connsiteY19" fmla="*/ 165418 h 212964"/>
                <a:gd name="connsiteX20" fmla="*/ 0 w 150166"/>
                <a:gd name="connsiteY20" fmla="*/ 165418 h 212964"/>
                <a:gd name="connsiteX21" fmla="*/ 6368 w 150166"/>
                <a:gd name="connsiteY21" fmla="*/ 208283 h 212964"/>
                <a:gd name="connsiteX22" fmla="*/ 17932 w 150166"/>
                <a:gd name="connsiteY22" fmla="*/ 208283 h 212964"/>
                <a:gd name="connsiteX23" fmla="*/ 18740 w 150166"/>
                <a:gd name="connsiteY23" fmla="*/ 207510 h 212964"/>
                <a:gd name="connsiteX24" fmla="*/ 25997 w 150166"/>
                <a:gd name="connsiteY24" fmla="*/ 205895 h 212964"/>
                <a:gd name="connsiteX25" fmla="*/ 38393 w 150166"/>
                <a:gd name="connsiteY25" fmla="*/ 208107 h 212964"/>
                <a:gd name="connsiteX26" fmla="*/ 74445 w 150166"/>
                <a:gd name="connsiteY26" fmla="*/ 212965 h 212964"/>
                <a:gd name="connsiteX27" fmla="*/ 150167 w 150166"/>
                <a:gd name="connsiteY27" fmla="*/ 152648 h 212964"/>
                <a:gd name="connsiteX28" fmla="*/ 87930 w 150166"/>
                <a:gd name="connsiteY28" fmla="*/ 86267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150166" h="212964">
                  <a:moveTo>
                    <a:pt x="87918" y="86267"/>
                  </a:moveTo>
                  <a:lnTo>
                    <a:pt x="87918" y="86267"/>
                  </a:lnTo>
                  <a:cubicBezTo>
                    <a:pt x="64976" y="74750"/>
                    <a:pt x="43309" y="63864"/>
                    <a:pt x="43309" y="46282"/>
                  </a:cubicBezTo>
                  <a:cubicBezTo>
                    <a:pt x="43309" y="34507"/>
                    <a:pt x="52884" y="17078"/>
                    <a:pt x="73427" y="17078"/>
                  </a:cubicBezTo>
                  <a:cubicBezTo>
                    <a:pt x="97142" y="17078"/>
                    <a:pt x="111305" y="23574"/>
                    <a:pt x="120248" y="39739"/>
                  </a:cubicBezTo>
                  <a:lnTo>
                    <a:pt x="121032" y="41331"/>
                  </a:lnTo>
                  <a:lnTo>
                    <a:pt x="136109" y="41167"/>
                  </a:lnTo>
                  <a:lnTo>
                    <a:pt x="129589" y="3078"/>
                  </a:lnTo>
                  <a:lnTo>
                    <a:pt x="120026" y="3078"/>
                  </a:lnTo>
                  <a:lnTo>
                    <a:pt x="118551" y="3746"/>
                  </a:lnTo>
                  <a:cubicBezTo>
                    <a:pt x="116205" y="4922"/>
                    <a:pt x="113600" y="5486"/>
                    <a:pt x="110977" y="5384"/>
                  </a:cubicBezTo>
                  <a:cubicBezTo>
                    <a:pt x="106998" y="5232"/>
                    <a:pt x="105242" y="4577"/>
                    <a:pt x="101438" y="3804"/>
                  </a:cubicBezTo>
                  <a:cubicBezTo>
                    <a:pt x="99822" y="3465"/>
                    <a:pt x="98031" y="3008"/>
                    <a:pt x="95807" y="2634"/>
                  </a:cubicBezTo>
                  <a:cubicBezTo>
                    <a:pt x="87117" y="890"/>
                    <a:pt x="78276" y="8"/>
                    <a:pt x="69412" y="0"/>
                  </a:cubicBezTo>
                  <a:cubicBezTo>
                    <a:pt x="33945" y="0"/>
                    <a:pt x="5103" y="24710"/>
                    <a:pt x="5103" y="55096"/>
                  </a:cubicBezTo>
                  <a:cubicBezTo>
                    <a:pt x="5103" y="85846"/>
                    <a:pt x="34952" y="101917"/>
                    <a:pt x="63817" y="117415"/>
                  </a:cubicBezTo>
                  <a:cubicBezTo>
                    <a:pt x="88059" y="130455"/>
                    <a:pt x="110966" y="142804"/>
                    <a:pt x="110966" y="162094"/>
                  </a:cubicBezTo>
                  <a:cubicBezTo>
                    <a:pt x="110966" y="180249"/>
                    <a:pt x="94251" y="193944"/>
                    <a:pt x="72093" y="193944"/>
                  </a:cubicBezTo>
                  <a:cubicBezTo>
                    <a:pt x="41799" y="193944"/>
                    <a:pt x="23130" y="185177"/>
                    <a:pt x="15030" y="167174"/>
                  </a:cubicBezTo>
                  <a:lnTo>
                    <a:pt x="14327" y="165418"/>
                  </a:lnTo>
                  <a:lnTo>
                    <a:pt x="0" y="165418"/>
                  </a:lnTo>
                  <a:lnTo>
                    <a:pt x="6368" y="208283"/>
                  </a:lnTo>
                  <a:lnTo>
                    <a:pt x="17932" y="208283"/>
                  </a:lnTo>
                  <a:lnTo>
                    <a:pt x="18740" y="207510"/>
                  </a:lnTo>
                  <a:cubicBezTo>
                    <a:pt x="20461" y="205965"/>
                    <a:pt x="22603" y="205860"/>
                    <a:pt x="25997" y="205895"/>
                  </a:cubicBezTo>
                  <a:cubicBezTo>
                    <a:pt x="29392" y="205930"/>
                    <a:pt x="33313" y="206878"/>
                    <a:pt x="38393" y="208107"/>
                  </a:cubicBezTo>
                  <a:cubicBezTo>
                    <a:pt x="50154" y="211257"/>
                    <a:pt x="62270" y="212889"/>
                    <a:pt x="74445" y="212965"/>
                  </a:cubicBezTo>
                  <a:cubicBezTo>
                    <a:pt x="118328" y="212965"/>
                    <a:pt x="150167" y="187600"/>
                    <a:pt x="150167" y="152648"/>
                  </a:cubicBezTo>
                  <a:cubicBezTo>
                    <a:pt x="150167" y="117696"/>
                    <a:pt x="117052" y="100922"/>
                    <a:pt x="87930" y="86267"/>
                  </a:cubicBezTo>
                </a:path>
              </a:pathLst>
            </a:custGeom>
            <a:solidFill>
              <a:srgbClr val="000000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25" name="Freihandform: Form 24">
              <a:extLst>
                <a:ext uri="{FF2B5EF4-FFF2-40B4-BE49-F238E27FC236}">
                  <a16:creationId xmlns:a16="http://schemas.microsoft.com/office/drawing/2014/main" id="{02FFEB2B-4438-4234-BDE3-01D0AB0F37D4}"/>
                </a:ext>
              </a:extLst>
            </p:cNvPr>
            <p:cNvSpPr/>
            <p:nvPr/>
          </p:nvSpPr>
          <p:spPr>
            <a:xfrm>
              <a:off x="10421346" y="335748"/>
              <a:ext cx="149780" cy="202570"/>
            </a:xfrm>
            <a:custGeom>
              <a:avLst/>
              <a:gdLst>
                <a:gd name="connsiteX0" fmla="*/ 10184 w 149780"/>
                <a:gd name="connsiteY0" fmla="*/ 176725 h 202570"/>
                <a:gd name="connsiteX1" fmla="*/ 2540 w 149780"/>
                <a:gd name="connsiteY1" fmla="*/ 187986 h 202570"/>
                <a:gd name="connsiteX2" fmla="*/ 0 w 149780"/>
                <a:gd name="connsiteY2" fmla="*/ 188232 h 202570"/>
                <a:gd name="connsiteX3" fmla="*/ 0 w 149780"/>
                <a:gd name="connsiteY3" fmla="*/ 202571 h 202570"/>
                <a:gd name="connsiteX4" fmla="*/ 144864 w 149780"/>
                <a:gd name="connsiteY4" fmla="*/ 202571 h 202570"/>
                <a:gd name="connsiteX5" fmla="*/ 149780 w 149780"/>
                <a:gd name="connsiteY5" fmla="*/ 162059 h 202570"/>
                <a:gd name="connsiteX6" fmla="*/ 134563 w 149780"/>
                <a:gd name="connsiteY6" fmla="*/ 162176 h 202570"/>
                <a:gd name="connsiteX7" fmla="*/ 133943 w 149780"/>
                <a:gd name="connsiteY7" fmla="*/ 164107 h 202570"/>
                <a:gd name="connsiteX8" fmla="*/ 101379 w 149780"/>
                <a:gd name="connsiteY8" fmla="*/ 182754 h 202570"/>
                <a:gd name="connsiteX9" fmla="*/ 64192 w 149780"/>
                <a:gd name="connsiteY9" fmla="*/ 182754 h 202570"/>
                <a:gd name="connsiteX10" fmla="*/ 49244 w 149780"/>
                <a:gd name="connsiteY10" fmla="*/ 162749 h 202570"/>
                <a:gd name="connsiteX11" fmla="*/ 49244 w 149780"/>
                <a:gd name="connsiteY11" fmla="*/ 107875 h 202570"/>
                <a:gd name="connsiteX12" fmla="*/ 89042 w 149780"/>
                <a:gd name="connsiteY12" fmla="*/ 107875 h 202570"/>
                <a:gd name="connsiteX13" fmla="*/ 107630 w 149780"/>
                <a:gd name="connsiteY13" fmla="*/ 118878 h 202570"/>
                <a:gd name="connsiteX14" fmla="*/ 108051 w 149780"/>
                <a:gd name="connsiteY14" fmla="*/ 121219 h 202570"/>
                <a:gd name="connsiteX15" fmla="*/ 122542 w 149780"/>
                <a:gd name="connsiteY15" fmla="*/ 121219 h 202570"/>
                <a:gd name="connsiteX16" fmla="*/ 122542 w 149780"/>
                <a:gd name="connsiteY16" fmla="*/ 75569 h 202570"/>
                <a:gd name="connsiteX17" fmla="*/ 108285 w 149780"/>
                <a:gd name="connsiteY17" fmla="*/ 75569 h 202570"/>
                <a:gd name="connsiteX18" fmla="*/ 107934 w 149780"/>
                <a:gd name="connsiteY18" fmla="*/ 77910 h 202570"/>
                <a:gd name="connsiteX19" fmla="*/ 89042 w 149780"/>
                <a:gd name="connsiteY19" fmla="*/ 88105 h 202570"/>
                <a:gd name="connsiteX20" fmla="*/ 49244 w 149780"/>
                <a:gd name="connsiteY20" fmla="*/ 88105 h 202570"/>
                <a:gd name="connsiteX21" fmla="*/ 49244 w 149780"/>
                <a:gd name="connsiteY21" fmla="*/ 19829 h 202570"/>
                <a:gd name="connsiteX22" fmla="*/ 102550 w 149780"/>
                <a:gd name="connsiteY22" fmla="*/ 19829 h 202570"/>
                <a:gd name="connsiteX23" fmla="*/ 124310 w 149780"/>
                <a:gd name="connsiteY23" fmla="*/ 34226 h 202570"/>
                <a:gd name="connsiteX24" fmla="*/ 124883 w 149780"/>
                <a:gd name="connsiteY24" fmla="*/ 36286 h 202570"/>
                <a:gd name="connsiteX25" fmla="*/ 140100 w 149780"/>
                <a:gd name="connsiteY25" fmla="*/ 36286 h 202570"/>
                <a:gd name="connsiteX26" fmla="*/ 137595 w 149780"/>
                <a:gd name="connsiteY26" fmla="*/ 0 h 202570"/>
                <a:gd name="connsiteX27" fmla="*/ 222 w 149780"/>
                <a:gd name="connsiteY27" fmla="*/ 0 h 202570"/>
                <a:gd name="connsiteX28" fmla="*/ 222 w 149780"/>
                <a:gd name="connsiteY28" fmla="*/ 14198 h 202570"/>
                <a:gd name="connsiteX29" fmla="*/ 2798 w 149780"/>
                <a:gd name="connsiteY29" fmla="*/ 14374 h 202570"/>
                <a:gd name="connsiteX30" fmla="*/ 10207 w 149780"/>
                <a:gd name="connsiteY30" fmla="*/ 32412 h 2025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149780" h="202570">
                  <a:moveTo>
                    <a:pt x="10184" y="176725"/>
                  </a:moveTo>
                  <a:cubicBezTo>
                    <a:pt x="9973" y="184626"/>
                    <a:pt x="9774" y="187260"/>
                    <a:pt x="2540" y="187986"/>
                  </a:cubicBezTo>
                  <a:lnTo>
                    <a:pt x="0" y="188232"/>
                  </a:lnTo>
                  <a:lnTo>
                    <a:pt x="0" y="202571"/>
                  </a:lnTo>
                  <a:lnTo>
                    <a:pt x="144864" y="202571"/>
                  </a:lnTo>
                  <a:lnTo>
                    <a:pt x="149780" y="162059"/>
                  </a:lnTo>
                  <a:lnTo>
                    <a:pt x="134563" y="162176"/>
                  </a:lnTo>
                  <a:lnTo>
                    <a:pt x="133943" y="164107"/>
                  </a:lnTo>
                  <a:cubicBezTo>
                    <a:pt x="127927" y="182964"/>
                    <a:pt x="121734" y="182906"/>
                    <a:pt x="101379" y="182754"/>
                  </a:cubicBezTo>
                  <a:lnTo>
                    <a:pt x="64192" y="182754"/>
                  </a:lnTo>
                  <a:cubicBezTo>
                    <a:pt x="49654" y="182754"/>
                    <a:pt x="49244" y="179909"/>
                    <a:pt x="49244" y="162749"/>
                  </a:cubicBezTo>
                  <a:lnTo>
                    <a:pt x="49244" y="107875"/>
                  </a:lnTo>
                  <a:lnTo>
                    <a:pt x="89042" y="107875"/>
                  </a:lnTo>
                  <a:cubicBezTo>
                    <a:pt x="102292" y="107875"/>
                    <a:pt x="105066" y="108168"/>
                    <a:pt x="107630" y="118878"/>
                  </a:cubicBezTo>
                  <a:lnTo>
                    <a:pt x="108051" y="121219"/>
                  </a:lnTo>
                  <a:lnTo>
                    <a:pt x="122542" y="121219"/>
                  </a:lnTo>
                  <a:lnTo>
                    <a:pt x="122542" y="75569"/>
                  </a:lnTo>
                  <a:lnTo>
                    <a:pt x="108285" y="75569"/>
                  </a:lnTo>
                  <a:lnTo>
                    <a:pt x="107934" y="77910"/>
                  </a:lnTo>
                  <a:cubicBezTo>
                    <a:pt x="106248" y="87368"/>
                    <a:pt x="103158" y="88105"/>
                    <a:pt x="89042" y="88105"/>
                  </a:cubicBezTo>
                  <a:lnTo>
                    <a:pt x="49244" y="88105"/>
                  </a:lnTo>
                  <a:lnTo>
                    <a:pt x="49244" y="19829"/>
                  </a:lnTo>
                  <a:lnTo>
                    <a:pt x="102550" y="19829"/>
                  </a:lnTo>
                  <a:cubicBezTo>
                    <a:pt x="116233" y="19829"/>
                    <a:pt x="120716" y="19829"/>
                    <a:pt x="124310" y="34226"/>
                  </a:cubicBezTo>
                  <a:lnTo>
                    <a:pt x="124883" y="36286"/>
                  </a:lnTo>
                  <a:lnTo>
                    <a:pt x="140100" y="36286"/>
                  </a:lnTo>
                  <a:lnTo>
                    <a:pt x="137595" y="0"/>
                  </a:lnTo>
                  <a:lnTo>
                    <a:pt x="222" y="0"/>
                  </a:lnTo>
                  <a:lnTo>
                    <a:pt x="222" y="14198"/>
                  </a:lnTo>
                  <a:lnTo>
                    <a:pt x="2798" y="14374"/>
                  </a:lnTo>
                  <a:cubicBezTo>
                    <a:pt x="10102" y="15252"/>
                    <a:pt x="10113" y="17886"/>
                    <a:pt x="10207" y="32412"/>
                  </a:cubicBezTo>
                  <a:close/>
                </a:path>
              </a:pathLst>
            </a:custGeom>
            <a:solidFill>
              <a:srgbClr val="000000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39" name="Freihandform: Form 38">
              <a:extLst>
                <a:ext uri="{FF2B5EF4-FFF2-40B4-BE49-F238E27FC236}">
                  <a16:creationId xmlns:a16="http://schemas.microsoft.com/office/drawing/2014/main" id="{C659A745-6D82-40CE-B674-CD4F7B6ABA23}"/>
                </a:ext>
              </a:extLst>
            </p:cNvPr>
            <p:cNvSpPr/>
            <p:nvPr/>
          </p:nvSpPr>
          <p:spPr>
            <a:xfrm>
              <a:off x="11496262" y="332657"/>
              <a:ext cx="216465" cy="208540"/>
            </a:xfrm>
            <a:custGeom>
              <a:avLst/>
              <a:gdLst>
                <a:gd name="connsiteX0" fmla="*/ 145742 w 216465"/>
                <a:gd name="connsiteY0" fmla="*/ 131087 h 208540"/>
                <a:gd name="connsiteX1" fmla="*/ 125609 w 216465"/>
                <a:gd name="connsiteY1" fmla="*/ 111902 h 208540"/>
                <a:gd name="connsiteX2" fmla="*/ 162609 w 216465"/>
                <a:gd name="connsiteY2" fmla="*/ 59556 h 208540"/>
                <a:gd name="connsiteX3" fmla="*/ 74738 w 216465"/>
                <a:gd name="connsiteY3" fmla="*/ 0 h 208540"/>
                <a:gd name="connsiteX4" fmla="*/ 36321 w 216465"/>
                <a:gd name="connsiteY4" fmla="*/ 632 h 208540"/>
                <a:gd name="connsiteX5" fmla="*/ 15147 w 216465"/>
                <a:gd name="connsiteY5" fmla="*/ 1662 h 208540"/>
                <a:gd name="connsiteX6" fmla="*/ 6450 w 216465"/>
                <a:gd name="connsiteY6" fmla="*/ 2247 h 208540"/>
                <a:gd name="connsiteX7" fmla="*/ 6450 w 216465"/>
                <a:gd name="connsiteY7" fmla="*/ 16586 h 208540"/>
                <a:gd name="connsiteX8" fmla="*/ 8978 w 216465"/>
                <a:gd name="connsiteY8" fmla="*/ 16703 h 208540"/>
                <a:gd name="connsiteX9" fmla="*/ 17698 w 216465"/>
                <a:gd name="connsiteY9" fmla="*/ 25061 h 208540"/>
                <a:gd name="connsiteX10" fmla="*/ 17581 w 216465"/>
                <a:gd name="connsiteY10" fmla="*/ 173413 h 208540"/>
                <a:gd name="connsiteX11" fmla="*/ 2669 w 216465"/>
                <a:gd name="connsiteY11" fmla="*/ 191486 h 208540"/>
                <a:gd name="connsiteX12" fmla="*/ 0 w 216465"/>
                <a:gd name="connsiteY12" fmla="*/ 191626 h 208540"/>
                <a:gd name="connsiteX13" fmla="*/ 0 w 216465"/>
                <a:gd name="connsiteY13" fmla="*/ 205672 h 208540"/>
                <a:gd name="connsiteX14" fmla="*/ 76435 w 216465"/>
                <a:gd name="connsiteY14" fmla="*/ 205672 h 208540"/>
                <a:gd name="connsiteX15" fmla="*/ 76435 w 216465"/>
                <a:gd name="connsiteY15" fmla="*/ 191544 h 208540"/>
                <a:gd name="connsiteX16" fmla="*/ 73790 w 216465"/>
                <a:gd name="connsiteY16" fmla="*/ 191544 h 208540"/>
                <a:gd name="connsiteX17" fmla="*/ 58374 w 216465"/>
                <a:gd name="connsiteY17" fmla="*/ 164353 h 208540"/>
                <a:gd name="connsiteX18" fmla="*/ 58374 w 216465"/>
                <a:gd name="connsiteY18" fmla="*/ 124192 h 208540"/>
                <a:gd name="connsiteX19" fmla="*/ 82651 w 216465"/>
                <a:gd name="connsiteY19" fmla="*/ 123982 h 208540"/>
                <a:gd name="connsiteX20" fmla="*/ 115425 w 216465"/>
                <a:gd name="connsiteY20" fmla="*/ 153526 h 208540"/>
                <a:gd name="connsiteX21" fmla="*/ 132035 w 216465"/>
                <a:gd name="connsiteY21" fmla="*/ 170276 h 208540"/>
                <a:gd name="connsiteX22" fmla="*/ 141926 w 216465"/>
                <a:gd name="connsiteY22" fmla="*/ 180612 h 208540"/>
                <a:gd name="connsiteX23" fmla="*/ 148797 w 216465"/>
                <a:gd name="connsiteY23" fmla="*/ 188232 h 208540"/>
                <a:gd name="connsiteX24" fmla="*/ 201798 w 216465"/>
                <a:gd name="connsiteY24" fmla="*/ 208540 h 208540"/>
                <a:gd name="connsiteX25" fmla="*/ 213281 w 216465"/>
                <a:gd name="connsiteY25" fmla="*/ 208376 h 208540"/>
                <a:gd name="connsiteX26" fmla="*/ 216465 w 216465"/>
                <a:gd name="connsiteY26" fmla="*/ 208306 h 208540"/>
                <a:gd name="connsiteX27" fmla="*/ 216465 w 216465"/>
                <a:gd name="connsiteY27" fmla="*/ 194201 h 208540"/>
                <a:gd name="connsiteX28" fmla="*/ 213504 w 216465"/>
                <a:gd name="connsiteY28" fmla="*/ 193932 h 208540"/>
                <a:gd name="connsiteX29" fmla="*/ 213504 w 216465"/>
                <a:gd name="connsiteY29" fmla="*/ 193932 h 208540"/>
                <a:gd name="connsiteX30" fmla="*/ 190316 w 216465"/>
                <a:gd name="connsiteY30" fmla="*/ 177159 h 208540"/>
                <a:gd name="connsiteX31" fmla="*/ 171131 w 216465"/>
                <a:gd name="connsiteY31" fmla="*/ 156967 h 208540"/>
                <a:gd name="connsiteX32" fmla="*/ 119031 w 216465"/>
                <a:gd name="connsiteY32" fmla="*/ 62728 h 208540"/>
                <a:gd name="connsiteX33" fmla="*/ 65713 w 216465"/>
                <a:gd name="connsiteY33" fmla="*/ 110041 h 208540"/>
                <a:gd name="connsiteX34" fmla="*/ 58397 w 216465"/>
                <a:gd name="connsiteY34" fmla="*/ 109725 h 208540"/>
                <a:gd name="connsiteX35" fmla="*/ 58397 w 216465"/>
                <a:gd name="connsiteY35" fmla="*/ 15334 h 208540"/>
                <a:gd name="connsiteX36" fmla="*/ 71542 w 216465"/>
                <a:gd name="connsiteY36" fmla="*/ 15182 h 208540"/>
                <a:gd name="connsiteX37" fmla="*/ 119031 w 216465"/>
                <a:gd name="connsiteY37" fmla="*/ 62728 h 2085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16465" h="208540">
                  <a:moveTo>
                    <a:pt x="145742" y="131087"/>
                  </a:moveTo>
                  <a:cubicBezTo>
                    <a:pt x="143541" y="128874"/>
                    <a:pt x="132632" y="117930"/>
                    <a:pt x="125609" y="111902"/>
                  </a:cubicBezTo>
                  <a:cubicBezTo>
                    <a:pt x="150190" y="100325"/>
                    <a:pt x="162609" y="82721"/>
                    <a:pt x="162609" y="59556"/>
                  </a:cubicBezTo>
                  <a:cubicBezTo>
                    <a:pt x="162609" y="41647"/>
                    <a:pt x="154053" y="0"/>
                    <a:pt x="74738" y="0"/>
                  </a:cubicBezTo>
                  <a:cubicBezTo>
                    <a:pt x="68242" y="0"/>
                    <a:pt x="53037" y="0"/>
                    <a:pt x="36321" y="632"/>
                  </a:cubicBezTo>
                  <a:cubicBezTo>
                    <a:pt x="26243" y="1077"/>
                    <a:pt x="20332" y="1393"/>
                    <a:pt x="15147" y="1662"/>
                  </a:cubicBezTo>
                  <a:lnTo>
                    <a:pt x="6450" y="2247"/>
                  </a:lnTo>
                  <a:lnTo>
                    <a:pt x="6450" y="16586"/>
                  </a:lnTo>
                  <a:lnTo>
                    <a:pt x="8978" y="16703"/>
                  </a:lnTo>
                  <a:cubicBezTo>
                    <a:pt x="15240" y="17160"/>
                    <a:pt x="17616" y="18787"/>
                    <a:pt x="17698" y="25061"/>
                  </a:cubicBezTo>
                  <a:lnTo>
                    <a:pt x="17581" y="173413"/>
                  </a:lnTo>
                  <a:cubicBezTo>
                    <a:pt x="17195" y="185715"/>
                    <a:pt x="16411" y="190842"/>
                    <a:pt x="2669" y="191486"/>
                  </a:cubicBezTo>
                  <a:lnTo>
                    <a:pt x="0" y="191626"/>
                  </a:lnTo>
                  <a:lnTo>
                    <a:pt x="0" y="205672"/>
                  </a:lnTo>
                  <a:lnTo>
                    <a:pt x="76435" y="205672"/>
                  </a:lnTo>
                  <a:lnTo>
                    <a:pt x="76435" y="191544"/>
                  </a:lnTo>
                  <a:lnTo>
                    <a:pt x="73790" y="191544"/>
                  </a:lnTo>
                  <a:cubicBezTo>
                    <a:pt x="58362" y="190783"/>
                    <a:pt x="58374" y="187260"/>
                    <a:pt x="58374" y="164353"/>
                  </a:cubicBezTo>
                  <a:lnTo>
                    <a:pt x="58374" y="124192"/>
                  </a:lnTo>
                  <a:cubicBezTo>
                    <a:pt x="66462" y="124664"/>
                    <a:pt x="74574" y="124593"/>
                    <a:pt x="82651" y="123982"/>
                  </a:cubicBezTo>
                  <a:cubicBezTo>
                    <a:pt x="95000" y="133205"/>
                    <a:pt x="99635" y="137583"/>
                    <a:pt x="115425" y="153526"/>
                  </a:cubicBezTo>
                  <a:lnTo>
                    <a:pt x="132035" y="170276"/>
                  </a:lnTo>
                  <a:cubicBezTo>
                    <a:pt x="135804" y="174092"/>
                    <a:pt x="139058" y="177556"/>
                    <a:pt x="141926" y="180612"/>
                  </a:cubicBezTo>
                  <a:cubicBezTo>
                    <a:pt x="144525" y="183374"/>
                    <a:pt x="146784" y="185949"/>
                    <a:pt x="148797" y="188232"/>
                  </a:cubicBezTo>
                  <a:cubicBezTo>
                    <a:pt x="161087" y="202173"/>
                    <a:pt x="166706" y="208540"/>
                    <a:pt x="201798" y="208540"/>
                  </a:cubicBezTo>
                  <a:cubicBezTo>
                    <a:pt x="205310" y="208540"/>
                    <a:pt x="209044" y="208540"/>
                    <a:pt x="213281" y="208376"/>
                  </a:cubicBezTo>
                  <a:lnTo>
                    <a:pt x="216465" y="208306"/>
                  </a:lnTo>
                  <a:lnTo>
                    <a:pt x="216465" y="194201"/>
                  </a:lnTo>
                  <a:lnTo>
                    <a:pt x="213504" y="193932"/>
                  </a:lnTo>
                  <a:lnTo>
                    <a:pt x="213504" y="193932"/>
                  </a:lnTo>
                  <a:cubicBezTo>
                    <a:pt x="205228" y="193160"/>
                    <a:pt x="200253" y="187810"/>
                    <a:pt x="190316" y="177159"/>
                  </a:cubicBezTo>
                  <a:lnTo>
                    <a:pt x="171131" y="156967"/>
                  </a:lnTo>
                  <a:close/>
                  <a:moveTo>
                    <a:pt x="119031" y="62728"/>
                  </a:moveTo>
                  <a:cubicBezTo>
                    <a:pt x="119031" y="95210"/>
                    <a:pt x="104247" y="108554"/>
                    <a:pt x="65713" y="110041"/>
                  </a:cubicBezTo>
                  <a:cubicBezTo>
                    <a:pt x="64543" y="110041"/>
                    <a:pt x="61195" y="110041"/>
                    <a:pt x="58397" y="109725"/>
                  </a:cubicBezTo>
                  <a:lnTo>
                    <a:pt x="58397" y="15334"/>
                  </a:lnTo>
                  <a:cubicBezTo>
                    <a:pt x="62225" y="15182"/>
                    <a:pt x="68101" y="15182"/>
                    <a:pt x="71542" y="15182"/>
                  </a:cubicBezTo>
                  <a:cubicBezTo>
                    <a:pt x="103193" y="15170"/>
                    <a:pt x="119031" y="31159"/>
                    <a:pt x="119031" y="62728"/>
                  </a:cubicBezTo>
                  <a:close/>
                </a:path>
              </a:pathLst>
            </a:custGeom>
            <a:solidFill>
              <a:srgbClr val="000000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40" name="Freihandform: Form 39">
              <a:extLst>
                <a:ext uri="{FF2B5EF4-FFF2-40B4-BE49-F238E27FC236}">
                  <a16:creationId xmlns:a16="http://schemas.microsoft.com/office/drawing/2014/main" id="{222ACBAE-EDDD-42F9-AD6A-319DFE3E3FFA}"/>
                </a:ext>
              </a:extLst>
            </p:cNvPr>
            <p:cNvSpPr/>
            <p:nvPr/>
          </p:nvSpPr>
          <p:spPr>
            <a:xfrm>
              <a:off x="10830304" y="335724"/>
              <a:ext cx="207171" cy="202652"/>
            </a:xfrm>
            <a:custGeom>
              <a:avLst/>
              <a:gdLst>
                <a:gd name="connsiteX0" fmla="*/ 121430 w 207171"/>
                <a:gd name="connsiteY0" fmla="*/ 0 h 202652"/>
                <a:gd name="connsiteX1" fmla="*/ 90762 w 207171"/>
                <a:gd name="connsiteY1" fmla="*/ 0 h 202652"/>
                <a:gd name="connsiteX2" fmla="*/ 24979 w 207171"/>
                <a:gd name="connsiteY2" fmla="*/ 164529 h 202652"/>
                <a:gd name="connsiteX3" fmla="*/ 2610 w 207171"/>
                <a:gd name="connsiteY3" fmla="*/ 188431 h 202652"/>
                <a:gd name="connsiteX4" fmla="*/ 0 w 207171"/>
                <a:gd name="connsiteY4" fmla="*/ 188606 h 202652"/>
                <a:gd name="connsiteX5" fmla="*/ 0 w 207171"/>
                <a:gd name="connsiteY5" fmla="*/ 202652 h 202652"/>
                <a:gd name="connsiteX6" fmla="*/ 56735 w 207171"/>
                <a:gd name="connsiteY6" fmla="*/ 202652 h 202652"/>
                <a:gd name="connsiteX7" fmla="*/ 56735 w 207171"/>
                <a:gd name="connsiteY7" fmla="*/ 188712 h 202652"/>
                <a:gd name="connsiteX8" fmla="*/ 54184 w 207171"/>
                <a:gd name="connsiteY8" fmla="*/ 188489 h 202652"/>
                <a:gd name="connsiteX9" fmla="*/ 41530 w 207171"/>
                <a:gd name="connsiteY9" fmla="*/ 178879 h 202652"/>
                <a:gd name="connsiteX10" fmla="*/ 44562 w 207171"/>
                <a:gd name="connsiteY10" fmla="*/ 167478 h 202652"/>
                <a:gd name="connsiteX11" fmla="*/ 59779 w 207171"/>
                <a:gd name="connsiteY11" fmla="*/ 128196 h 202652"/>
                <a:gd name="connsiteX12" fmla="*/ 129706 w 207171"/>
                <a:gd name="connsiteY12" fmla="*/ 128196 h 202652"/>
                <a:gd name="connsiteX13" fmla="*/ 144923 w 207171"/>
                <a:gd name="connsiteY13" fmla="*/ 167385 h 202652"/>
                <a:gd name="connsiteX14" fmla="*/ 148844 w 207171"/>
                <a:gd name="connsiteY14" fmla="*/ 179734 h 202652"/>
                <a:gd name="connsiteX15" fmla="*/ 148937 w 207171"/>
                <a:gd name="connsiteY15" fmla="*/ 180202 h 202652"/>
                <a:gd name="connsiteX16" fmla="*/ 147896 w 207171"/>
                <a:gd name="connsiteY16" fmla="*/ 184802 h 202652"/>
                <a:gd name="connsiteX17" fmla="*/ 136577 w 207171"/>
                <a:gd name="connsiteY17" fmla="*/ 188243 h 202652"/>
                <a:gd name="connsiteX18" fmla="*/ 134002 w 207171"/>
                <a:gd name="connsiteY18" fmla="*/ 188442 h 202652"/>
                <a:gd name="connsiteX19" fmla="*/ 134002 w 207171"/>
                <a:gd name="connsiteY19" fmla="*/ 202606 h 202652"/>
                <a:gd name="connsiteX20" fmla="*/ 207171 w 207171"/>
                <a:gd name="connsiteY20" fmla="*/ 202606 h 202652"/>
                <a:gd name="connsiteX21" fmla="*/ 207171 w 207171"/>
                <a:gd name="connsiteY21" fmla="*/ 188700 h 202652"/>
                <a:gd name="connsiteX22" fmla="*/ 204502 w 207171"/>
                <a:gd name="connsiteY22" fmla="*/ 188559 h 202652"/>
                <a:gd name="connsiteX23" fmla="*/ 184603 w 207171"/>
                <a:gd name="connsiteY23" fmla="*/ 167759 h 202652"/>
                <a:gd name="connsiteX24" fmla="*/ 121641 w 207171"/>
                <a:gd name="connsiteY24" fmla="*/ 107161 h 202652"/>
                <a:gd name="connsiteX25" fmla="*/ 67797 w 207171"/>
                <a:gd name="connsiteY25" fmla="*/ 107161 h 202652"/>
                <a:gd name="connsiteX26" fmla="*/ 95140 w 207171"/>
                <a:gd name="connsiteY26" fmla="*/ 37012 h 2026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207171" h="202652">
                  <a:moveTo>
                    <a:pt x="121430" y="0"/>
                  </a:moveTo>
                  <a:lnTo>
                    <a:pt x="90762" y="0"/>
                  </a:lnTo>
                  <a:lnTo>
                    <a:pt x="24979" y="164529"/>
                  </a:lnTo>
                  <a:cubicBezTo>
                    <a:pt x="17172" y="183994"/>
                    <a:pt x="15755" y="187506"/>
                    <a:pt x="2610" y="188431"/>
                  </a:cubicBezTo>
                  <a:lnTo>
                    <a:pt x="0" y="188606"/>
                  </a:lnTo>
                  <a:lnTo>
                    <a:pt x="0" y="202652"/>
                  </a:lnTo>
                  <a:lnTo>
                    <a:pt x="56735" y="202652"/>
                  </a:lnTo>
                  <a:lnTo>
                    <a:pt x="56735" y="188712"/>
                  </a:lnTo>
                  <a:lnTo>
                    <a:pt x="54184" y="188489"/>
                  </a:lnTo>
                  <a:cubicBezTo>
                    <a:pt x="43649" y="187319"/>
                    <a:pt x="41202" y="183315"/>
                    <a:pt x="41530" y="178879"/>
                  </a:cubicBezTo>
                  <a:cubicBezTo>
                    <a:pt x="41741" y="176105"/>
                    <a:pt x="42572" y="172839"/>
                    <a:pt x="44562" y="167478"/>
                  </a:cubicBezTo>
                  <a:lnTo>
                    <a:pt x="59779" y="128196"/>
                  </a:lnTo>
                  <a:lnTo>
                    <a:pt x="129706" y="128196"/>
                  </a:lnTo>
                  <a:lnTo>
                    <a:pt x="144923" y="167385"/>
                  </a:lnTo>
                  <a:cubicBezTo>
                    <a:pt x="147369" y="174326"/>
                    <a:pt x="147907" y="175672"/>
                    <a:pt x="148844" y="179734"/>
                  </a:cubicBezTo>
                  <a:lnTo>
                    <a:pt x="148937" y="180202"/>
                  </a:lnTo>
                  <a:cubicBezTo>
                    <a:pt x="149324" y="181814"/>
                    <a:pt x="148939" y="183513"/>
                    <a:pt x="147896" y="184802"/>
                  </a:cubicBezTo>
                  <a:cubicBezTo>
                    <a:pt x="146421" y="186651"/>
                    <a:pt x="142780" y="187763"/>
                    <a:pt x="136577" y="188243"/>
                  </a:cubicBezTo>
                  <a:lnTo>
                    <a:pt x="134002" y="188442"/>
                  </a:lnTo>
                  <a:lnTo>
                    <a:pt x="134002" y="202606"/>
                  </a:lnTo>
                  <a:lnTo>
                    <a:pt x="207171" y="202606"/>
                  </a:lnTo>
                  <a:lnTo>
                    <a:pt x="207171" y="188700"/>
                  </a:lnTo>
                  <a:lnTo>
                    <a:pt x="204502" y="188559"/>
                  </a:lnTo>
                  <a:cubicBezTo>
                    <a:pt x="191989" y="187986"/>
                    <a:pt x="190854" y="184896"/>
                    <a:pt x="184603" y="167759"/>
                  </a:cubicBezTo>
                  <a:close/>
                  <a:moveTo>
                    <a:pt x="121641" y="107161"/>
                  </a:moveTo>
                  <a:lnTo>
                    <a:pt x="67797" y="107161"/>
                  </a:lnTo>
                  <a:lnTo>
                    <a:pt x="95140" y="37012"/>
                  </a:lnTo>
                  <a:close/>
                </a:path>
              </a:pathLst>
            </a:custGeom>
            <a:solidFill>
              <a:srgbClr val="000000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41" name="Freihandform: Form 40">
              <a:extLst>
                <a:ext uri="{FF2B5EF4-FFF2-40B4-BE49-F238E27FC236}">
                  <a16:creationId xmlns:a16="http://schemas.microsoft.com/office/drawing/2014/main" id="{7D1E5F76-34FB-44BE-9BBD-4F97F534AFD9}"/>
                </a:ext>
              </a:extLst>
            </p:cNvPr>
            <p:cNvSpPr/>
            <p:nvPr/>
          </p:nvSpPr>
          <p:spPr>
            <a:xfrm>
              <a:off x="11256925" y="330434"/>
              <a:ext cx="218794" cy="212964"/>
            </a:xfrm>
            <a:custGeom>
              <a:avLst/>
              <a:gdLst>
                <a:gd name="connsiteX0" fmla="*/ 109397 w 218794"/>
                <a:gd name="connsiteY0" fmla="*/ 0 h 212964"/>
                <a:gd name="connsiteX1" fmla="*/ 0 w 218794"/>
                <a:gd name="connsiteY1" fmla="*/ 111878 h 212964"/>
                <a:gd name="connsiteX2" fmla="*/ 108227 w 218794"/>
                <a:gd name="connsiteY2" fmla="*/ 212965 h 212964"/>
                <a:gd name="connsiteX3" fmla="*/ 218794 w 218794"/>
                <a:gd name="connsiteY3" fmla="*/ 102994 h 212964"/>
                <a:gd name="connsiteX4" fmla="*/ 109397 w 218794"/>
                <a:gd name="connsiteY4" fmla="*/ 0 h 212964"/>
                <a:gd name="connsiteX5" fmla="*/ 177861 w 218794"/>
                <a:gd name="connsiteY5" fmla="*/ 110919 h 212964"/>
                <a:gd name="connsiteX6" fmla="*/ 112897 w 218794"/>
                <a:gd name="connsiteY6" fmla="*/ 197210 h 212964"/>
                <a:gd name="connsiteX7" fmla="*/ 40945 w 218794"/>
                <a:gd name="connsiteY7" fmla="*/ 103310 h 212964"/>
                <a:gd name="connsiteX8" fmla="*/ 107056 w 218794"/>
                <a:gd name="connsiteY8" fmla="*/ 15744 h 212964"/>
                <a:gd name="connsiteX9" fmla="*/ 177861 w 218794"/>
                <a:gd name="connsiteY9" fmla="*/ 110919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18794" h="212964">
                  <a:moveTo>
                    <a:pt x="109397" y="0"/>
                  </a:moveTo>
                  <a:cubicBezTo>
                    <a:pt x="45966" y="0"/>
                    <a:pt x="0" y="47043"/>
                    <a:pt x="0" y="111878"/>
                  </a:cubicBezTo>
                  <a:cubicBezTo>
                    <a:pt x="0" y="170405"/>
                    <a:pt x="45522" y="212965"/>
                    <a:pt x="108227" y="212965"/>
                  </a:cubicBezTo>
                  <a:cubicBezTo>
                    <a:pt x="171259" y="212965"/>
                    <a:pt x="218794" y="165687"/>
                    <a:pt x="218794" y="102994"/>
                  </a:cubicBezTo>
                  <a:cubicBezTo>
                    <a:pt x="218794" y="42349"/>
                    <a:pt x="173811" y="0"/>
                    <a:pt x="109397" y="0"/>
                  </a:cubicBezTo>
                  <a:close/>
                  <a:moveTo>
                    <a:pt x="177861" y="110919"/>
                  </a:moveTo>
                  <a:cubicBezTo>
                    <a:pt x="177861" y="162539"/>
                    <a:pt x="151758" y="197210"/>
                    <a:pt x="112897" y="197210"/>
                  </a:cubicBezTo>
                  <a:cubicBezTo>
                    <a:pt x="77138" y="197210"/>
                    <a:pt x="40945" y="164950"/>
                    <a:pt x="40945" y="103310"/>
                  </a:cubicBezTo>
                  <a:cubicBezTo>
                    <a:pt x="40945" y="49302"/>
                    <a:pt x="66275" y="15744"/>
                    <a:pt x="107056" y="15744"/>
                  </a:cubicBezTo>
                  <a:cubicBezTo>
                    <a:pt x="148738" y="15744"/>
                    <a:pt x="177861" y="54886"/>
                    <a:pt x="177861" y="110919"/>
                  </a:cubicBezTo>
                  <a:close/>
                </a:path>
              </a:pathLst>
            </a:custGeom>
            <a:solidFill>
              <a:srgbClr val="000000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42" name="Freihandform: Form 41">
              <a:extLst>
                <a:ext uri="{FF2B5EF4-FFF2-40B4-BE49-F238E27FC236}">
                  <a16:creationId xmlns:a16="http://schemas.microsoft.com/office/drawing/2014/main" id="{F57A6181-B5E2-46EE-A2CA-5CC053B09B53}"/>
                </a:ext>
              </a:extLst>
            </p:cNvPr>
            <p:cNvSpPr/>
            <p:nvPr/>
          </p:nvSpPr>
          <p:spPr>
            <a:xfrm>
              <a:off x="11045727" y="330434"/>
              <a:ext cx="196811" cy="212964"/>
            </a:xfrm>
            <a:custGeom>
              <a:avLst/>
              <a:gdLst>
                <a:gd name="connsiteX0" fmla="*/ 196812 w 196811"/>
                <a:gd name="connsiteY0" fmla="*/ 165348 h 212964"/>
                <a:gd name="connsiteX1" fmla="*/ 180635 w 196811"/>
                <a:gd name="connsiteY1" fmla="*/ 165547 h 212964"/>
                <a:gd name="connsiteX2" fmla="*/ 179828 w 196811"/>
                <a:gd name="connsiteY2" fmla="*/ 166659 h 212964"/>
                <a:gd name="connsiteX3" fmla="*/ 118960 w 196811"/>
                <a:gd name="connsiteY3" fmla="*/ 195922 h 212964"/>
                <a:gd name="connsiteX4" fmla="*/ 70255 w 196811"/>
                <a:gd name="connsiteY4" fmla="*/ 176585 h 212964"/>
                <a:gd name="connsiteX5" fmla="*/ 41729 w 196811"/>
                <a:gd name="connsiteY5" fmla="*/ 102023 h 212964"/>
                <a:gd name="connsiteX6" fmla="*/ 113623 w 196811"/>
                <a:gd name="connsiteY6" fmla="*/ 15720 h 212964"/>
                <a:gd name="connsiteX7" fmla="*/ 179359 w 196811"/>
                <a:gd name="connsiteY7" fmla="*/ 50391 h 212964"/>
                <a:gd name="connsiteX8" fmla="*/ 180155 w 196811"/>
                <a:gd name="connsiteY8" fmla="*/ 51959 h 212964"/>
                <a:gd name="connsiteX9" fmla="*/ 193558 w 196811"/>
                <a:gd name="connsiteY9" fmla="*/ 51749 h 212964"/>
                <a:gd name="connsiteX10" fmla="*/ 192259 w 196811"/>
                <a:gd name="connsiteY10" fmla="*/ 9142 h 212964"/>
                <a:gd name="connsiteX11" fmla="*/ 181267 w 196811"/>
                <a:gd name="connsiteY11" fmla="*/ 9142 h 212964"/>
                <a:gd name="connsiteX12" fmla="*/ 180694 w 196811"/>
                <a:gd name="connsiteY12" fmla="*/ 9528 h 212964"/>
                <a:gd name="connsiteX13" fmla="*/ 176515 w 196811"/>
                <a:gd name="connsiteY13" fmla="*/ 10453 h 212964"/>
                <a:gd name="connsiteX14" fmla="*/ 163768 w 196811"/>
                <a:gd name="connsiteY14" fmla="*/ 7761 h 212964"/>
                <a:gd name="connsiteX15" fmla="*/ 112441 w 196811"/>
                <a:gd name="connsiteY15" fmla="*/ 0 h 212964"/>
                <a:gd name="connsiteX16" fmla="*/ 0 w 196811"/>
                <a:gd name="connsiteY16" fmla="*/ 110275 h 212964"/>
                <a:gd name="connsiteX17" fmla="*/ 110029 w 196811"/>
                <a:gd name="connsiteY17" fmla="*/ 212965 h 212964"/>
                <a:gd name="connsiteX18" fmla="*/ 149382 w 196811"/>
                <a:gd name="connsiteY18" fmla="*/ 208411 h 212964"/>
                <a:gd name="connsiteX19" fmla="*/ 169808 w 196811"/>
                <a:gd name="connsiteY19" fmla="*/ 205661 h 212964"/>
                <a:gd name="connsiteX20" fmla="*/ 172804 w 196811"/>
                <a:gd name="connsiteY20" fmla="*/ 205567 h 212964"/>
                <a:gd name="connsiteX21" fmla="*/ 179406 w 196811"/>
                <a:gd name="connsiteY21" fmla="*/ 205719 h 212964"/>
                <a:gd name="connsiteX22" fmla="*/ 182414 w 196811"/>
                <a:gd name="connsiteY22" fmla="*/ 206012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96811" h="212964">
                  <a:moveTo>
                    <a:pt x="196812" y="165348"/>
                  </a:moveTo>
                  <a:lnTo>
                    <a:pt x="180635" y="165547"/>
                  </a:lnTo>
                  <a:lnTo>
                    <a:pt x="179828" y="166659"/>
                  </a:lnTo>
                  <a:cubicBezTo>
                    <a:pt x="163440" y="186839"/>
                    <a:pt x="146315" y="195044"/>
                    <a:pt x="118960" y="195922"/>
                  </a:cubicBezTo>
                  <a:cubicBezTo>
                    <a:pt x="100712" y="196577"/>
                    <a:pt x="83927" y="189824"/>
                    <a:pt x="70255" y="176585"/>
                  </a:cubicBezTo>
                  <a:cubicBezTo>
                    <a:pt x="52123" y="159027"/>
                    <a:pt x="41729" y="131859"/>
                    <a:pt x="41729" y="102023"/>
                  </a:cubicBezTo>
                  <a:cubicBezTo>
                    <a:pt x="41729" y="50403"/>
                    <a:pt x="70618" y="15720"/>
                    <a:pt x="113623" y="15720"/>
                  </a:cubicBezTo>
                  <a:cubicBezTo>
                    <a:pt x="143799" y="15720"/>
                    <a:pt x="168989" y="28994"/>
                    <a:pt x="179359" y="50391"/>
                  </a:cubicBezTo>
                  <a:lnTo>
                    <a:pt x="180155" y="51959"/>
                  </a:lnTo>
                  <a:lnTo>
                    <a:pt x="193558" y="51749"/>
                  </a:lnTo>
                  <a:lnTo>
                    <a:pt x="192259" y="9142"/>
                  </a:lnTo>
                  <a:lnTo>
                    <a:pt x="181267" y="9142"/>
                  </a:lnTo>
                  <a:lnTo>
                    <a:pt x="180694" y="9528"/>
                  </a:lnTo>
                  <a:cubicBezTo>
                    <a:pt x="179431" y="10264"/>
                    <a:pt x="177970" y="10587"/>
                    <a:pt x="176515" y="10453"/>
                  </a:cubicBezTo>
                  <a:cubicBezTo>
                    <a:pt x="173928" y="10359"/>
                    <a:pt x="169492" y="9282"/>
                    <a:pt x="163768" y="7761"/>
                  </a:cubicBezTo>
                  <a:cubicBezTo>
                    <a:pt x="152039" y="4682"/>
                    <a:pt x="134259" y="0"/>
                    <a:pt x="112441" y="0"/>
                  </a:cubicBezTo>
                  <a:cubicBezTo>
                    <a:pt x="34765" y="0"/>
                    <a:pt x="0" y="55377"/>
                    <a:pt x="0" y="110275"/>
                  </a:cubicBezTo>
                  <a:cubicBezTo>
                    <a:pt x="0" y="172652"/>
                    <a:pt x="43192" y="212965"/>
                    <a:pt x="110029" y="212965"/>
                  </a:cubicBezTo>
                  <a:cubicBezTo>
                    <a:pt x="124965" y="212965"/>
                    <a:pt x="138461" y="210448"/>
                    <a:pt x="149382" y="208411"/>
                  </a:cubicBezTo>
                  <a:cubicBezTo>
                    <a:pt x="156745" y="207030"/>
                    <a:pt x="163838" y="205789"/>
                    <a:pt x="169808" y="205661"/>
                  </a:cubicBezTo>
                  <a:cubicBezTo>
                    <a:pt x="171119" y="205661"/>
                    <a:pt x="172032" y="205661"/>
                    <a:pt x="172804" y="205567"/>
                  </a:cubicBezTo>
                  <a:cubicBezTo>
                    <a:pt x="175006" y="205507"/>
                    <a:pt x="177209" y="205558"/>
                    <a:pt x="179406" y="205719"/>
                  </a:cubicBezTo>
                  <a:lnTo>
                    <a:pt x="182414" y="206012"/>
                  </a:lnTo>
                  <a:close/>
                </a:path>
              </a:pathLst>
            </a:custGeom>
            <a:solidFill>
              <a:srgbClr val="000000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</p:grpSp>
      <p:sp>
        <p:nvSpPr>
          <p:cNvPr id="43" name="Fußzeilenplatzhalter 2">
            <a:extLst>
              <a:ext uri="{FF2B5EF4-FFF2-40B4-BE49-F238E27FC236}">
                <a16:creationId xmlns:a16="http://schemas.microsoft.com/office/drawing/2014/main" id="{926D02BF-A95C-4174-9ABE-09AE6438DD4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 flipH="1">
            <a:off x="479423" y="6633547"/>
            <a:ext cx="7246798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rtl="0">
              <a:defRPr lang="de-DE" sz="800">
                <a:solidFill>
                  <a:schemeClr val="tx2"/>
                </a:solidFill>
              </a:defRPr>
            </a:lvl1pPr>
          </a:lstStyle>
          <a:p>
            <a:r>
              <a:rPr lang="en-GB"/>
              <a:t>Senacor  |  Deutsche Bank  |  Request for Proposal – Miles &amp; More // Mobile app solution development </a:t>
            </a:r>
          </a:p>
        </p:txBody>
      </p:sp>
    </p:spTree>
    <p:extLst>
      <p:ext uri="{BB962C8B-B14F-4D97-AF65-F5344CB8AC3E}">
        <p14:creationId xmlns:p14="http://schemas.microsoft.com/office/powerpoint/2010/main" val="255969012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1FD5C9B0-1B07-4EBC-906A-D849907DEDC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1FD5C9B0-1B07-4EBC-906A-D849907DED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61F9098E-7D0E-4766-9BC5-644ACA3F13E5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635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rtl="0"/>
            <a:endParaRPr lang="en-GB" sz="2200" b="1" i="0" baseline="0">
              <a:solidFill>
                <a:schemeClr val="tx1"/>
              </a:solidFill>
              <a:latin typeface="Arial" panose="020B0604020202020204" pitchFamily="34" charset="0"/>
              <a:ea typeface="Malgun Gothic Semilight" panose="020B0502040204020203" pitchFamily="34" charset="-128"/>
              <a:cs typeface="Malgun Gothic Semilight" panose="020B0502040204020203" pitchFamily="34" charset="-128"/>
              <a:sym typeface="Arial" panose="020B0604020202020204" pitchFamily="34" charset="0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34E8994-30E7-42C9-8B97-D389F537197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87541" y="6633547"/>
            <a:ext cx="125034" cy="123111"/>
          </a:xfrm>
          <a:prstGeom prst="rect">
            <a:avLst/>
          </a:prstGeom>
        </p:spPr>
        <p:txBody>
          <a:bodyPr/>
          <a:lstStyle>
            <a:lvl1pPr algn="r" rtl="0">
              <a:defRPr/>
            </a:lvl1pPr>
          </a:lstStyle>
          <a:p>
            <a:fld id="{C50CBA42-791E-4851-9FB4-39A223136DC3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5" name="Textplatzhalter 14">
            <a:extLst>
              <a:ext uri="{FF2B5EF4-FFF2-40B4-BE49-F238E27FC236}">
                <a16:creationId xmlns:a16="http://schemas.microsoft.com/office/drawing/2014/main" id="{BB8EC43E-B232-4253-AFDF-4EF8A3B5B7F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79424" y="371143"/>
            <a:ext cx="9509760" cy="215444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/>
              <a:t>Kapitelüberschrift eingeben</a:t>
            </a:r>
          </a:p>
        </p:txBody>
      </p:sp>
      <p:sp>
        <p:nvSpPr>
          <p:cNvPr id="11" name="Fußzeilenplatzhalter 2">
            <a:extLst>
              <a:ext uri="{FF2B5EF4-FFF2-40B4-BE49-F238E27FC236}">
                <a16:creationId xmlns:a16="http://schemas.microsoft.com/office/drawing/2014/main" id="{0C8E0433-F1B2-45B9-B982-C12250ECA58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 flipH="1">
            <a:off x="479423" y="6633547"/>
            <a:ext cx="7246798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rtl="0">
              <a:defRPr lang="de-DE" sz="800">
                <a:solidFill>
                  <a:schemeClr val="tx2"/>
                </a:solidFill>
              </a:defRPr>
            </a:lvl1pPr>
          </a:lstStyle>
          <a:p>
            <a:r>
              <a:rPr lang="en-GB"/>
              <a:t>Senacor  |  Deutsche Bank  |  Request for Proposal – Miles &amp; More // Mobile app solution development </a:t>
            </a:r>
          </a:p>
        </p:txBody>
      </p:sp>
      <p:sp>
        <p:nvSpPr>
          <p:cNvPr id="12" name="Titelplatzhalter 1">
            <a:extLst>
              <a:ext uri="{FF2B5EF4-FFF2-40B4-BE49-F238E27FC236}">
                <a16:creationId xmlns:a16="http://schemas.microsoft.com/office/drawing/2014/main" id="{0144F55D-B2AB-4147-864A-90D8928AE2A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720000"/>
            <a:ext cx="11233150" cy="609398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rtl="0">
              <a:defRPr/>
            </a:lvl1pPr>
          </a:lstStyle>
          <a:p>
            <a:r>
              <a:rPr lang="en-GB" noProof="0"/>
              <a:t>Mastertitelformat bearbeiten</a:t>
            </a:r>
          </a:p>
        </p:txBody>
      </p:sp>
      <p:sp>
        <p:nvSpPr>
          <p:cNvPr id="3" name="Datumsplatzhalter 3">
            <a:extLst>
              <a:ext uri="{FF2B5EF4-FFF2-40B4-BE49-F238E27FC236}">
                <a16:creationId xmlns:a16="http://schemas.microsoft.com/office/drawing/2014/main" id="{B0E9C914-14D2-36B1-5952-E08F9E26030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182100" y="6633547"/>
            <a:ext cx="125012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 rtl="0">
              <a:defRPr sz="800">
                <a:solidFill>
                  <a:schemeClr val="tx2"/>
                </a:solidFill>
              </a:defRPr>
            </a:lvl1pPr>
          </a:lstStyle>
          <a:p>
            <a:r>
              <a:rPr lang="de-DE"/>
              <a:t>August 2023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9832996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slideLayout" Target="../slideLayouts/slideLayout3.xml"/><Relationship Id="rId1" Type="http://schemas.openxmlformats.org/officeDocument/2006/relationships/slideLayout" Target="../slideLayouts/slideLayout2.xml"/><Relationship Id="rId4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.xml"/><Relationship Id="rId13" Type="http://schemas.openxmlformats.org/officeDocument/2006/relationships/slideLayout" Target="../slideLayouts/slideLayout17.xml"/><Relationship Id="rId18" Type="http://schemas.openxmlformats.org/officeDocument/2006/relationships/slideLayout" Target="../slideLayouts/slideLayout22.xml"/><Relationship Id="rId26" Type="http://schemas.openxmlformats.org/officeDocument/2006/relationships/oleObject" Target="../embeddings/oleObject1.bin"/><Relationship Id="rId3" Type="http://schemas.openxmlformats.org/officeDocument/2006/relationships/slideLayout" Target="../slideLayouts/slideLayout7.xml"/><Relationship Id="rId21" Type="http://schemas.openxmlformats.org/officeDocument/2006/relationships/slideLayout" Target="../slideLayouts/slideLayout25.xml"/><Relationship Id="rId7" Type="http://schemas.openxmlformats.org/officeDocument/2006/relationships/slideLayout" Target="../slideLayouts/slideLayout11.xml"/><Relationship Id="rId12" Type="http://schemas.openxmlformats.org/officeDocument/2006/relationships/slideLayout" Target="../slideLayouts/slideLayout16.xml"/><Relationship Id="rId17" Type="http://schemas.openxmlformats.org/officeDocument/2006/relationships/slideLayout" Target="../slideLayouts/slideLayout21.xml"/><Relationship Id="rId25" Type="http://schemas.openxmlformats.org/officeDocument/2006/relationships/tags" Target="../tags/tag2.xml"/><Relationship Id="rId2" Type="http://schemas.openxmlformats.org/officeDocument/2006/relationships/slideLayout" Target="../slideLayouts/slideLayout6.xml"/><Relationship Id="rId16" Type="http://schemas.openxmlformats.org/officeDocument/2006/relationships/slideLayout" Target="../slideLayouts/slideLayout20.xml"/><Relationship Id="rId20" Type="http://schemas.openxmlformats.org/officeDocument/2006/relationships/slideLayout" Target="../slideLayouts/slideLayout24.xml"/><Relationship Id="rId1" Type="http://schemas.openxmlformats.org/officeDocument/2006/relationships/slideLayout" Target="../slideLayouts/slideLayout5.xml"/><Relationship Id="rId6" Type="http://schemas.openxmlformats.org/officeDocument/2006/relationships/slideLayout" Target="../slideLayouts/slideLayout10.xml"/><Relationship Id="rId11" Type="http://schemas.openxmlformats.org/officeDocument/2006/relationships/slideLayout" Target="../slideLayouts/slideLayout15.xml"/><Relationship Id="rId24" Type="http://schemas.openxmlformats.org/officeDocument/2006/relationships/tags" Target="../tags/tag1.xml"/><Relationship Id="rId5" Type="http://schemas.openxmlformats.org/officeDocument/2006/relationships/slideLayout" Target="../slideLayouts/slideLayout9.xml"/><Relationship Id="rId15" Type="http://schemas.openxmlformats.org/officeDocument/2006/relationships/slideLayout" Target="../slideLayouts/slideLayout19.xml"/><Relationship Id="rId23" Type="http://schemas.openxmlformats.org/officeDocument/2006/relationships/theme" Target="../theme/theme3.xml"/><Relationship Id="rId10" Type="http://schemas.openxmlformats.org/officeDocument/2006/relationships/slideLayout" Target="../slideLayouts/slideLayout14.xml"/><Relationship Id="rId19" Type="http://schemas.openxmlformats.org/officeDocument/2006/relationships/slideLayout" Target="../slideLayouts/slideLayout23.xml"/><Relationship Id="rId4" Type="http://schemas.openxmlformats.org/officeDocument/2006/relationships/slideLayout" Target="../slideLayouts/slideLayout8.xml"/><Relationship Id="rId9" Type="http://schemas.openxmlformats.org/officeDocument/2006/relationships/slideLayout" Target="../slideLayouts/slideLayout13.xml"/><Relationship Id="rId14" Type="http://schemas.openxmlformats.org/officeDocument/2006/relationships/slideLayout" Target="../slideLayouts/slideLayout18.xml"/><Relationship Id="rId22" Type="http://schemas.openxmlformats.org/officeDocument/2006/relationships/slideLayout" Target="../slideLayouts/slideLayout26.xml"/><Relationship Id="rId27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00407493-1651-DC20-3673-08A127F690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8800" y="719999"/>
            <a:ext cx="11232000" cy="615600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/>
          <a:p>
            <a:r>
              <a:rPr lang="de-DE"/>
              <a:t>Mastertitelformat bearbeiten</a:t>
            </a:r>
            <a:endParaRPr lang="en-DE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47A2075-B767-A0E7-D40F-8D9F91D376F8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idx="1"/>
          </p:nvPr>
        </p:nvSpPr>
        <p:spPr>
          <a:xfrm>
            <a:off x="478800" y="1692000"/>
            <a:ext cx="11232000" cy="4500000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Überschrift</a:t>
            </a:r>
          </a:p>
          <a:p>
            <a:pPr lvl="1"/>
            <a:r>
              <a:rPr lang="de-DE"/>
              <a:t>Haupttext</a:t>
            </a:r>
          </a:p>
          <a:p>
            <a:pPr lvl="2"/>
            <a:r>
              <a:rPr lang="de-DE"/>
              <a:t>Erste Aufzählungsebene</a:t>
            </a:r>
          </a:p>
          <a:p>
            <a:pPr lvl="3"/>
            <a:r>
              <a:rPr lang="de-DE"/>
              <a:t>Zweite Aufzählungsebene</a:t>
            </a:r>
          </a:p>
          <a:p>
            <a:pPr lvl="4"/>
            <a:r>
              <a:rPr lang="de-DE"/>
              <a:t>Erste </a:t>
            </a:r>
            <a:r>
              <a:rPr lang="de-DE" err="1"/>
              <a:t>Nummerierungsebene</a:t>
            </a:r>
            <a:endParaRPr lang="de-DE"/>
          </a:p>
          <a:p>
            <a:pPr lvl="5"/>
            <a:r>
              <a:rPr lang="de-DE"/>
              <a:t>Zweite </a:t>
            </a:r>
            <a:r>
              <a:rPr lang="de-DE" err="1"/>
              <a:t>Nummerierungsebene</a:t>
            </a:r>
            <a:endParaRPr lang="de-DE"/>
          </a:p>
          <a:p>
            <a:pPr lvl="6"/>
            <a:r>
              <a:rPr lang="de-DE"/>
              <a:t>BLAUE ZWISCHENÜBERSCHRIFT</a:t>
            </a:r>
          </a:p>
          <a:p>
            <a:pPr lvl="7"/>
            <a:r>
              <a:rPr lang="de-DE"/>
              <a:t>GRÜNE ZWISCHENÜBERSCHRIFT</a:t>
            </a:r>
          </a:p>
          <a:p>
            <a:pPr lvl="8"/>
            <a:r>
              <a:rPr lang="de-DE"/>
              <a:t>Fußzei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A951DED-992C-C7B7-1C4D-C8EC85A99CA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478800" y="6555600"/>
            <a:ext cx="662400" cy="1224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7FF13BA3-4DBD-492F-AF1C-C76B12832872}" type="datetime1">
              <a:rPr lang="de-DE" smtClean="0"/>
              <a:pPr/>
              <a:t>03.06.25</a:t>
            </a:fld>
            <a:endParaRPr lang="en-D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D64428B-05F9-FA76-89F9-D8C8375E844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623600" y="6555600"/>
            <a:ext cx="8964000" cy="1224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8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 err="1"/>
              <a:t>Senacor</a:t>
            </a:r>
            <a:r>
              <a:rPr lang="de-DE"/>
              <a:t> Technologies AG</a:t>
            </a:r>
            <a:endParaRPr lang="en-D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2D5C602-747D-3F65-F3A6-7B2B5D91D69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42800" y="6555600"/>
            <a:ext cx="457200" cy="1224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E63DBB63-5C76-DA40-949C-F00FB53C9B50}" type="slidenum">
              <a:rPr lang="en-DE" smtClean="0"/>
              <a:pPr/>
              <a:t>‹#›</a:t>
            </a:fld>
            <a:endParaRPr lang="en-DE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15B4EEC2-E1B8-EA00-71F6-5F70BF1D2752}"/>
              </a:ext>
            </a:extLst>
          </p:cNvPr>
          <p:cNvSpPr txBox="1"/>
          <p:nvPr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5783263" y="6642100"/>
            <a:ext cx="654050" cy="15240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n-US" sz="1000">
                <a:solidFill>
                  <a:srgbClr val="000000">
                    <a:alpha val="50000"/>
                  </a:srgb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7152064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4" r:id="rId1"/>
  </p:sldLayoutIdLst>
  <p:hf hdr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000" b="1" kern="1200">
          <a:solidFill>
            <a:schemeClr val="bg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0"/>
        </a:spcBef>
        <a:spcAft>
          <a:spcPts val="1200"/>
        </a:spcAft>
        <a:buFont typeface="Wingdings" panose="05000000000000000000" pitchFamily="2" charset="2"/>
        <a:buNone/>
        <a:defRPr sz="1400" b="1" kern="1200">
          <a:solidFill>
            <a:schemeClr val="bg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0" indent="0" algn="l" defTabSz="914400" rtl="0" eaLnBrk="1" latinLnBrk="0" hangingPunct="1">
        <a:lnSpc>
          <a:spcPct val="110000"/>
        </a:lnSpc>
        <a:spcBef>
          <a:spcPts val="400"/>
        </a:spcBef>
        <a:spcAft>
          <a:spcPts val="400"/>
        </a:spcAft>
        <a:buFont typeface="Arial" panose="020B0604020202020204" pitchFamily="34" charset="0"/>
        <a:buNone/>
        <a:defRPr sz="1200" kern="1200">
          <a:solidFill>
            <a:schemeClr val="bg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80000" indent="-180000" algn="l" defTabSz="914400" rtl="0" eaLnBrk="1" latinLnBrk="0" hangingPunct="1">
        <a:lnSpc>
          <a:spcPct val="110000"/>
        </a:lnSpc>
        <a:spcBef>
          <a:spcPts val="400"/>
        </a:spcBef>
        <a:spcAft>
          <a:spcPts val="400"/>
        </a:spcAft>
        <a:buClr>
          <a:schemeClr val="bg1"/>
        </a:buClr>
        <a:buFont typeface="Wingdings" panose="05000000000000000000" pitchFamily="2" charset="2"/>
        <a:buChar char="§"/>
        <a:defRPr sz="1200" kern="1200">
          <a:solidFill>
            <a:schemeClr val="bg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360000" indent="-180000" algn="l" defTabSz="914400" rtl="0" eaLnBrk="1" latinLnBrk="0" hangingPunct="1">
        <a:lnSpc>
          <a:spcPct val="110000"/>
        </a:lnSpc>
        <a:spcBef>
          <a:spcPts val="400"/>
        </a:spcBef>
        <a:spcAft>
          <a:spcPts val="400"/>
        </a:spcAft>
        <a:buClr>
          <a:schemeClr val="bg1"/>
        </a:buClr>
        <a:buFont typeface="Symbol" panose="05050102010706020507" pitchFamily="18" charset="2"/>
        <a:buChar char="-"/>
        <a:defRPr sz="1200" kern="1200">
          <a:solidFill>
            <a:schemeClr val="bg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180000" indent="-180000" algn="l" defTabSz="914400" rtl="0" eaLnBrk="1" latinLnBrk="0" hangingPunct="1">
        <a:lnSpc>
          <a:spcPct val="110000"/>
        </a:lnSpc>
        <a:spcBef>
          <a:spcPts val="400"/>
        </a:spcBef>
        <a:spcAft>
          <a:spcPts val="400"/>
        </a:spcAft>
        <a:buClr>
          <a:schemeClr val="bg1"/>
        </a:buClr>
        <a:buFont typeface="+mj-lt"/>
        <a:buAutoNum type="arabicPeriod"/>
        <a:defRPr sz="1200" kern="1200">
          <a:solidFill>
            <a:schemeClr val="bg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360000" indent="-180000" algn="l" defTabSz="914400" rtl="0" eaLnBrk="1" latinLnBrk="0" hangingPunct="1">
        <a:lnSpc>
          <a:spcPct val="110000"/>
        </a:lnSpc>
        <a:spcBef>
          <a:spcPts val="400"/>
        </a:spcBef>
        <a:spcAft>
          <a:spcPts val="400"/>
        </a:spcAft>
        <a:buClr>
          <a:schemeClr val="bg1"/>
        </a:buClr>
        <a:buFont typeface="+mj-lt"/>
        <a:buAutoNum type="alphaLcPeriod"/>
        <a:defRPr sz="1200" kern="1200">
          <a:solidFill>
            <a:schemeClr val="bg1"/>
          </a:solidFill>
          <a:latin typeface="Arial" panose="020B0604020202020204" pitchFamily="34" charset="0"/>
          <a:ea typeface="+mn-ea"/>
          <a:cs typeface="+mn-cs"/>
        </a:defRPr>
      </a:lvl6pPr>
      <a:lvl7pPr marL="0" indent="0" algn="l" defTabSz="914400" rtl="0" eaLnBrk="1" latinLnBrk="0" hangingPunct="1">
        <a:lnSpc>
          <a:spcPct val="110000"/>
        </a:lnSpc>
        <a:spcBef>
          <a:spcPts val="0"/>
        </a:spcBef>
        <a:spcAft>
          <a:spcPts val="800"/>
        </a:spcAft>
        <a:buFont typeface="Arial" panose="020B0604020202020204" pitchFamily="34" charset="0"/>
        <a:buNone/>
        <a:defRPr sz="1400" b="1" kern="1200">
          <a:solidFill>
            <a:schemeClr val="accent1"/>
          </a:solidFill>
          <a:latin typeface="Arial" panose="020B0604020202020204" pitchFamily="34" charset="0"/>
          <a:ea typeface="+mn-ea"/>
          <a:cs typeface="+mn-cs"/>
        </a:defRPr>
      </a:lvl7pPr>
      <a:lvl8pPr marL="0" indent="0" algn="l" defTabSz="914400" rtl="0" eaLnBrk="1" latinLnBrk="0" hangingPunct="1">
        <a:lnSpc>
          <a:spcPct val="110000"/>
        </a:lnSpc>
        <a:spcBef>
          <a:spcPts val="0"/>
        </a:spcBef>
        <a:spcAft>
          <a:spcPts val="800"/>
        </a:spcAft>
        <a:buFont typeface="Arial" panose="020B0604020202020204" pitchFamily="34" charset="0"/>
        <a:buNone/>
        <a:defRPr sz="1400" b="1" kern="1200">
          <a:solidFill>
            <a:schemeClr val="accent2"/>
          </a:solidFill>
          <a:latin typeface="Arial" panose="020B0604020202020204" pitchFamily="34" charset="0"/>
          <a:ea typeface="+mn-ea"/>
          <a:cs typeface="+mn-cs"/>
        </a:defRPr>
      </a:lvl8pPr>
      <a:lvl9pPr marL="0" indent="0" algn="l" defTabSz="914400" rtl="0" eaLnBrk="1" latinLnBrk="0" hangingPunct="1">
        <a:lnSpc>
          <a:spcPct val="110000"/>
        </a:lnSpc>
        <a:spcBef>
          <a:spcPts val="400"/>
        </a:spcBef>
        <a:spcAft>
          <a:spcPts val="400"/>
        </a:spcAft>
        <a:buFontTx/>
        <a:buNone/>
        <a:defRPr sz="800" kern="1200">
          <a:solidFill>
            <a:schemeClr val="bg1"/>
          </a:solidFill>
          <a:latin typeface="Arial" panose="020B0604020202020204" pitchFamily="34" charset="0"/>
          <a:ea typeface="+mn-ea"/>
          <a:cs typeface="+mn-cs"/>
        </a:defRPr>
      </a:lvl9pPr>
    </p:bodyStyle>
    <p:otherStyle>
      <a:defPPr>
        <a:defRPr lang="en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  <p15:guide id="3" pos="302" userDrawn="1">
          <p15:clr>
            <a:srgbClr val="F26B43"/>
          </p15:clr>
        </p15:guide>
        <p15:guide id="4" pos="7378" userDrawn="1">
          <p15:clr>
            <a:srgbClr val="F26B43"/>
          </p15:clr>
        </p15:guide>
        <p15:guide id="5" orient="horz" pos="1063" userDrawn="1">
          <p15:clr>
            <a:srgbClr val="F26B43"/>
          </p15:clr>
        </p15:guide>
        <p15:guide id="6" orient="horz" pos="4020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00407493-1651-DC20-3673-08A127F690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8799" y="719999"/>
            <a:ext cx="11233927" cy="615600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/>
          <a:p>
            <a:r>
              <a:rPr lang="de-DE"/>
              <a:t>Mastertitelformat bearbeiten</a:t>
            </a:r>
            <a:endParaRPr lang="en-D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A951DED-992C-C7B7-1C4D-C8EC85A99CA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478800" y="6555600"/>
            <a:ext cx="662400" cy="1224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7FF13BA3-4DBD-492F-AF1C-C76B12832872}" type="datetime1">
              <a:rPr lang="de-DE" smtClean="0"/>
              <a:pPr/>
              <a:t>03.06.25</a:t>
            </a:fld>
            <a:endParaRPr lang="en-D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D64428B-05F9-FA76-89F9-D8C8375E844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623600" y="6555600"/>
            <a:ext cx="8964000" cy="1224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Senacor Technologies AG</a:t>
            </a:r>
            <a:endParaRPr lang="en-D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2D5C602-747D-3F65-F3A6-7B2B5D91D69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42800" y="6555600"/>
            <a:ext cx="457200" cy="1224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E63DBB63-5C76-DA40-949C-F00FB53C9B50}" type="slidenum">
              <a:rPr lang="en-DE" smtClean="0"/>
              <a:pPr/>
              <a:t>‹#›</a:t>
            </a:fld>
            <a:endParaRPr lang="en-DE"/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35CE9A30-C9AE-3917-8A79-651505040C2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78799" y="1692000"/>
            <a:ext cx="11221201" cy="4500000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Überschrift</a:t>
            </a:r>
          </a:p>
          <a:p>
            <a:pPr lvl="1"/>
            <a:r>
              <a:rPr lang="de-DE"/>
              <a:t>Haupttext</a:t>
            </a:r>
          </a:p>
          <a:p>
            <a:pPr lvl="2"/>
            <a:r>
              <a:rPr lang="de-DE"/>
              <a:t>Erste Aufzählungsebene</a:t>
            </a:r>
          </a:p>
          <a:p>
            <a:pPr lvl="3"/>
            <a:r>
              <a:rPr lang="de-DE"/>
              <a:t>Zweite Aufzählungsebene</a:t>
            </a:r>
          </a:p>
          <a:p>
            <a:pPr lvl="4"/>
            <a:r>
              <a:rPr lang="de-DE"/>
              <a:t>Erste </a:t>
            </a:r>
            <a:r>
              <a:rPr lang="de-DE" err="1"/>
              <a:t>Nummerierungsebene</a:t>
            </a:r>
            <a:endParaRPr lang="de-DE"/>
          </a:p>
          <a:p>
            <a:pPr lvl="5"/>
            <a:r>
              <a:rPr lang="de-DE"/>
              <a:t>Zweite </a:t>
            </a:r>
            <a:r>
              <a:rPr lang="de-DE" err="1"/>
              <a:t>Nummerierungsebene</a:t>
            </a:r>
            <a:endParaRPr lang="de-DE"/>
          </a:p>
          <a:p>
            <a:pPr lvl="6"/>
            <a:r>
              <a:rPr lang="de-DE"/>
              <a:t>BLAUE ZWISCHENÜBERSCHRIFT</a:t>
            </a:r>
          </a:p>
          <a:p>
            <a:pPr lvl="7"/>
            <a:r>
              <a:rPr lang="de-DE"/>
              <a:t>GRÜNE ZWISCHENÜBERSCHRIFT</a:t>
            </a:r>
          </a:p>
          <a:p>
            <a:pPr lvl="8"/>
            <a:r>
              <a:rPr lang="de-DE"/>
              <a:t>Fußzeile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58019BA-5CA1-2449-4FA2-FACC4D9DDA6E}"/>
              </a:ext>
            </a:extLst>
          </p:cNvPr>
          <p:cNvSpPr txBox="1"/>
          <p:nvPr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5783263" y="6642100"/>
            <a:ext cx="654050" cy="15240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n-US" sz="1000">
                <a:solidFill>
                  <a:srgbClr val="000000">
                    <a:alpha val="50000"/>
                  </a:srgb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232441095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2" r:id="rId1"/>
    <p:sldLayoutId id="2147483770" r:id="rId2"/>
    <p:sldLayoutId id="2147483773" r:id="rId3"/>
  </p:sldLayoutIdLst>
  <p:hf hdr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0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0"/>
        </a:spcBef>
        <a:spcAft>
          <a:spcPts val="1200"/>
        </a:spcAft>
        <a:buFont typeface="Wingdings" panose="05000000000000000000" pitchFamily="2" charset="2"/>
        <a:buNone/>
        <a:defRPr sz="1400" b="1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0" indent="0" algn="l" defTabSz="914400" rtl="0" eaLnBrk="1" latinLnBrk="0" hangingPunct="1">
        <a:lnSpc>
          <a:spcPct val="110000"/>
        </a:lnSpc>
        <a:spcBef>
          <a:spcPts val="400"/>
        </a:spcBef>
        <a:spcAft>
          <a:spcPts val="400"/>
        </a:spcAft>
        <a:buFont typeface="Arial" panose="020B0604020202020204" pitchFamily="34" charset="0"/>
        <a:buNone/>
        <a:defRPr sz="12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80000" indent="-180000" algn="l" defTabSz="914400" rtl="0" eaLnBrk="1" latinLnBrk="0" hangingPunct="1">
        <a:lnSpc>
          <a:spcPct val="110000"/>
        </a:lnSpc>
        <a:spcBef>
          <a:spcPts val="400"/>
        </a:spcBef>
        <a:spcAft>
          <a:spcPts val="400"/>
        </a:spcAft>
        <a:buFont typeface="Wingdings" panose="05000000000000000000" pitchFamily="2" charset="2"/>
        <a:buChar char="§"/>
        <a:defRPr sz="12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360000" indent="-180000" algn="l" defTabSz="914400" rtl="0" eaLnBrk="1" latinLnBrk="0" hangingPunct="1">
        <a:lnSpc>
          <a:spcPct val="110000"/>
        </a:lnSpc>
        <a:spcBef>
          <a:spcPts val="400"/>
        </a:spcBef>
        <a:spcAft>
          <a:spcPts val="400"/>
        </a:spcAft>
        <a:buFont typeface="Symbol" pitchFamily="2" charset="2"/>
        <a:buChar char="-"/>
        <a:defRPr sz="12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180000" indent="-180000" algn="l" defTabSz="914400" rtl="0" eaLnBrk="1" latinLnBrk="0" hangingPunct="1">
        <a:lnSpc>
          <a:spcPct val="110000"/>
        </a:lnSpc>
        <a:spcBef>
          <a:spcPts val="400"/>
        </a:spcBef>
        <a:spcAft>
          <a:spcPts val="400"/>
        </a:spcAft>
        <a:buFont typeface="+mj-lt"/>
        <a:buAutoNum type="arabicPeriod"/>
        <a:defRPr sz="12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360000" indent="-180000" algn="l" defTabSz="914400" rtl="0" eaLnBrk="1" latinLnBrk="0" hangingPunct="1">
        <a:lnSpc>
          <a:spcPct val="110000"/>
        </a:lnSpc>
        <a:spcBef>
          <a:spcPts val="400"/>
        </a:spcBef>
        <a:spcAft>
          <a:spcPts val="400"/>
        </a:spcAft>
        <a:buFont typeface="+mj-lt"/>
        <a:buAutoNum type="alphaLcPeriod"/>
        <a:defRPr sz="12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6pPr>
      <a:lvl7pPr marL="0" indent="0" algn="l" defTabSz="914400" rtl="0" eaLnBrk="1" latinLnBrk="0" hangingPunct="1">
        <a:lnSpc>
          <a:spcPct val="110000"/>
        </a:lnSpc>
        <a:spcBef>
          <a:spcPts val="0"/>
        </a:spcBef>
        <a:spcAft>
          <a:spcPts val="800"/>
        </a:spcAft>
        <a:buFont typeface="Arial" panose="020B0604020202020204" pitchFamily="34" charset="0"/>
        <a:buNone/>
        <a:defRPr sz="1200" b="1" kern="1200">
          <a:solidFill>
            <a:schemeClr val="accent1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110000"/>
        </a:lnSpc>
        <a:spcBef>
          <a:spcPts val="0"/>
        </a:spcBef>
        <a:spcAft>
          <a:spcPts val="800"/>
        </a:spcAft>
        <a:buFont typeface="Arial" panose="020B0604020202020204" pitchFamily="34" charset="0"/>
        <a:buNone/>
        <a:defRPr sz="1200" b="1" kern="1200">
          <a:solidFill>
            <a:schemeClr val="accent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110000"/>
        </a:lnSpc>
        <a:spcBef>
          <a:spcPts val="400"/>
        </a:spcBef>
        <a:spcAft>
          <a:spcPts val="400"/>
        </a:spcAft>
        <a:buFont typeface="Arial" panose="020B0604020202020204" pitchFamily="34" charset="0"/>
        <a:buNone/>
        <a:defRPr sz="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9pPr>
    </p:bodyStyle>
    <p:otherStyle>
      <a:defPPr>
        <a:defRPr lang="en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840" userDrawn="1">
          <p15:clr>
            <a:srgbClr val="F26B43"/>
          </p15:clr>
        </p15:guide>
        <p15:guide id="2" orient="horz" pos="4020" userDrawn="1">
          <p15:clr>
            <a:srgbClr val="F26B43"/>
          </p15:clr>
        </p15:guide>
        <p15:guide id="3" orient="horz" pos="1063" userDrawn="1">
          <p15:clr>
            <a:srgbClr val="F26B43"/>
          </p15:clr>
        </p15:guide>
        <p15:guide id="4" pos="302" userDrawn="1">
          <p15:clr>
            <a:srgbClr val="F26B43"/>
          </p15:clr>
        </p15:guide>
        <p15:guide id="5" pos="7378" userDrawn="1">
          <p15:clr>
            <a:srgbClr val="F26B43"/>
          </p15:clr>
        </p15:guide>
        <p15:guide id="6" orient="horz" pos="2160" userDrawn="1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33844891-8C1B-4E02-AD45-17416960A509}"/>
              </a:ext>
            </a:extLst>
          </p:cNvPr>
          <p:cNvGraphicFramePr>
            <a:graphicFrameLocks noChangeAspect="1"/>
          </p:cNvGraphicFramePr>
          <p:nvPr>
            <p:custDataLst>
              <p:tags r:id="rId24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6" imgW="270" imgH="270" progId="TCLayout.ActiveDocument.1">
                  <p:embed/>
                </p:oleObj>
              </mc:Choice>
              <mc:Fallback>
                <p:oleObj name="think-cell Slide" r:id="rId26" imgW="270" imgH="270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33844891-8C1B-4E02-AD45-17416960A50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>
            <a:extLst>
              <a:ext uri="{FF2B5EF4-FFF2-40B4-BE49-F238E27FC236}">
                <a16:creationId xmlns:a16="http://schemas.microsoft.com/office/drawing/2014/main" id="{095B9F01-70CA-4D9D-8A9C-96F608CE0098}"/>
              </a:ext>
            </a:extLst>
          </p:cNvPr>
          <p:cNvSpPr/>
          <p:nvPr>
            <p:custDataLst>
              <p:tags r:id="rId2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rtl="0"/>
            <a:endParaRPr lang="en-GB" sz="2200" b="1" i="0" baseline="0">
              <a:latin typeface="Arial" panose="020B0604020202020204" pitchFamily="34" charset="0"/>
              <a:ea typeface="Malgun Gothic Semilight" panose="020B0502040204020203" pitchFamily="34" charset="-128"/>
              <a:cs typeface="Malgun Gothic Semilight" panose="020B0502040204020203" pitchFamily="34" charset="-128"/>
              <a:sym typeface="Arial" panose="020B0604020202020204" pitchFamily="34" charset="0"/>
            </a:endParaRPr>
          </a:p>
        </p:txBody>
      </p:sp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D1DBD1DE-18F5-426C-9C49-F77C7A226D5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789413"/>
            <a:ext cx="11233150" cy="609398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GB" noProof="0"/>
              <a:t>Mastertitelformat bearbeit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2F398098-3156-4E50-8376-5CE946BFEE1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182100" y="6633547"/>
            <a:ext cx="125012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 rtl="0">
              <a:defRPr sz="800">
                <a:solidFill>
                  <a:schemeClr val="tx2"/>
                </a:solidFill>
              </a:defRPr>
            </a:lvl1pPr>
          </a:lstStyle>
          <a:p>
            <a:r>
              <a:rPr lang="de-DE"/>
              <a:t>29. August 2023</a:t>
            </a:r>
            <a:endParaRPr lang="en-GB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D1D8664A-09DF-4842-9741-FCBC975648E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87541" y="6633547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b">
            <a:spAutoFit/>
          </a:bodyPr>
          <a:lstStyle>
            <a:lvl1pPr algn="r" rtl="0">
              <a:defRPr sz="800">
                <a:solidFill>
                  <a:schemeClr val="tx2"/>
                </a:solidFill>
              </a:defRPr>
            </a:lvl1pPr>
          </a:lstStyle>
          <a:p>
            <a:fld id="{C50CBA42-791E-4851-9FB4-39A223136DC3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6DBFF12E-FE65-426B-B950-15D901AE50B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79423" y="1775815"/>
            <a:ext cx="11233150" cy="451068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/>
              <a:t>Mastertextformat bearbeiten</a:t>
            </a:r>
          </a:p>
          <a:p>
            <a:pPr lvl="1"/>
            <a:r>
              <a:rPr lang="en-GB"/>
              <a:t>Zweite Ebene</a:t>
            </a:r>
          </a:p>
          <a:p>
            <a:pPr lvl="2"/>
            <a:r>
              <a:rPr lang="en-GB"/>
              <a:t>Dritte Ebene</a:t>
            </a:r>
          </a:p>
          <a:p>
            <a:pPr lvl="3"/>
            <a:r>
              <a:rPr lang="en-GB"/>
              <a:t>Vierte Ebene</a:t>
            </a:r>
          </a:p>
          <a:p>
            <a:pPr lvl="4"/>
            <a:r>
              <a:rPr lang="en-GB"/>
              <a:t>Fünfte Ebene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8BCF952A-07E9-445D-95D0-59EAFD22415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 flipH="1">
            <a:off x="479423" y="6633547"/>
            <a:ext cx="7246798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rtl="0">
              <a:defRPr lang="de-DE" sz="800">
                <a:solidFill>
                  <a:schemeClr val="tx2"/>
                </a:solidFill>
              </a:defRPr>
            </a:lvl1pPr>
          </a:lstStyle>
          <a:p>
            <a:r>
              <a:rPr lang="en-GB"/>
              <a:t>Senacor  |  Deutsche Bank  |  Request for Proposal – Miles &amp; More // Mobile app solution development </a:t>
            </a:r>
          </a:p>
        </p:txBody>
      </p:sp>
      <p:grpSp>
        <p:nvGrpSpPr>
          <p:cNvPr id="29" name="Gruppieren 28">
            <a:extLst>
              <a:ext uri="{FF2B5EF4-FFF2-40B4-BE49-F238E27FC236}">
                <a16:creationId xmlns:a16="http://schemas.microsoft.com/office/drawing/2014/main" id="{52B7F62B-8F90-43D8-9C4B-957A7ED49EC3}"/>
              </a:ext>
            </a:extLst>
          </p:cNvPr>
          <p:cNvGrpSpPr/>
          <p:nvPr userDrawn="1"/>
        </p:nvGrpSpPr>
        <p:grpSpPr>
          <a:xfrm>
            <a:off x="10240056" y="330434"/>
            <a:ext cx="1472671" cy="212964"/>
            <a:chOff x="10240056" y="330434"/>
            <a:chExt cx="1472671" cy="212964"/>
          </a:xfrm>
        </p:grpSpPr>
        <p:sp>
          <p:nvSpPr>
            <p:cNvPr id="12" name="Freihandform: Form 11">
              <a:extLst>
                <a:ext uri="{FF2B5EF4-FFF2-40B4-BE49-F238E27FC236}">
                  <a16:creationId xmlns:a16="http://schemas.microsoft.com/office/drawing/2014/main" id="{E561B6F5-581F-40A2-A8C8-2F2DF8939BE2}"/>
                </a:ext>
              </a:extLst>
            </p:cNvPr>
            <p:cNvSpPr/>
            <p:nvPr/>
          </p:nvSpPr>
          <p:spPr>
            <a:xfrm>
              <a:off x="10602134" y="335724"/>
              <a:ext cx="213948" cy="204724"/>
            </a:xfrm>
            <a:custGeom>
              <a:avLst/>
              <a:gdLst>
                <a:gd name="connsiteX0" fmla="*/ 160491 w 213948"/>
                <a:gd name="connsiteY0" fmla="*/ 14175 h 204724"/>
                <a:gd name="connsiteX1" fmla="*/ 163136 w 213948"/>
                <a:gd name="connsiteY1" fmla="*/ 14327 h 204724"/>
                <a:gd name="connsiteX2" fmla="*/ 176854 w 213948"/>
                <a:gd name="connsiteY2" fmla="*/ 36064 h 204724"/>
                <a:gd name="connsiteX3" fmla="*/ 176854 w 213948"/>
                <a:gd name="connsiteY3" fmla="*/ 144712 h 204724"/>
                <a:gd name="connsiteX4" fmla="*/ 49408 w 213948"/>
                <a:gd name="connsiteY4" fmla="*/ 0 h 204724"/>
                <a:gd name="connsiteX5" fmla="*/ 4834 w 213948"/>
                <a:gd name="connsiteY5" fmla="*/ 0 h 204724"/>
                <a:gd name="connsiteX6" fmla="*/ 4834 w 213948"/>
                <a:gd name="connsiteY6" fmla="*/ 13894 h 204724"/>
                <a:gd name="connsiteX7" fmla="*/ 7292 w 213948"/>
                <a:gd name="connsiteY7" fmla="*/ 14140 h 204724"/>
                <a:gd name="connsiteX8" fmla="*/ 16727 w 213948"/>
                <a:gd name="connsiteY8" fmla="*/ 21163 h 204724"/>
                <a:gd name="connsiteX9" fmla="*/ 16727 w 213948"/>
                <a:gd name="connsiteY9" fmla="*/ 164821 h 204724"/>
                <a:gd name="connsiteX10" fmla="*/ 2681 w 213948"/>
                <a:gd name="connsiteY10" fmla="*/ 188372 h 204724"/>
                <a:gd name="connsiteX11" fmla="*/ 0 w 213948"/>
                <a:gd name="connsiteY11" fmla="*/ 188513 h 204724"/>
                <a:gd name="connsiteX12" fmla="*/ 0 w 213948"/>
                <a:gd name="connsiteY12" fmla="*/ 202559 h 204724"/>
                <a:gd name="connsiteX13" fmla="*/ 54523 w 213948"/>
                <a:gd name="connsiteY13" fmla="*/ 202559 h 204724"/>
                <a:gd name="connsiteX14" fmla="*/ 54523 w 213948"/>
                <a:gd name="connsiteY14" fmla="*/ 188665 h 204724"/>
                <a:gd name="connsiteX15" fmla="*/ 51936 w 213948"/>
                <a:gd name="connsiteY15" fmla="*/ 188466 h 204724"/>
                <a:gd name="connsiteX16" fmla="*/ 38580 w 213948"/>
                <a:gd name="connsiteY16" fmla="*/ 162457 h 204724"/>
                <a:gd name="connsiteX17" fmla="*/ 38580 w 213948"/>
                <a:gd name="connsiteY17" fmla="*/ 46048 h 204724"/>
                <a:gd name="connsiteX18" fmla="*/ 177873 w 213948"/>
                <a:gd name="connsiteY18" fmla="*/ 203776 h 204724"/>
                <a:gd name="connsiteX19" fmla="*/ 178716 w 213948"/>
                <a:gd name="connsiteY19" fmla="*/ 204724 h 204724"/>
                <a:gd name="connsiteX20" fmla="*/ 198708 w 213948"/>
                <a:gd name="connsiteY20" fmla="*/ 204724 h 204724"/>
                <a:gd name="connsiteX21" fmla="*/ 198708 w 213948"/>
                <a:gd name="connsiteY21" fmla="*/ 39271 h 204724"/>
                <a:gd name="connsiteX22" fmla="*/ 211373 w 213948"/>
                <a:gd name="connsiteY22" fmla="*/ 14421 h 204724"/>
                <a:gd name="connsiteX23" fmla="*/ 213948 w 213948"/>
                <a:gd name="connsiteY23" fmla="*/ 14198 h 204724"/>
                <a:gd name="connsiteX24" fmla="*/ 213948 w 213948"/>
                <a:gd name="connsiteY24" fmla="*/ 0 h 204724"/>
                <a:gd name="connsiteX25" fmla="*/ 160491 w 213948"/>
                <a:gd name="connsiteY25" fmla="*/ 0 h 2047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213948" h="204724">
                  <a:moveTo>
                    <a:pt x="160491" y="14175"/>
                  </a:moveTo>
                  <a:lnTo>
                    <a:pt x="163136" y="14327"/>
                  </a:lnTo>
                  <a:cubicBezTo>
                    <a:pt x="176878" y="15111"/>
                    <a:pt x="176878" y="17909"/>
                    <a:pt x="176854" y="36064"/>
                  </a:cubicBezTo>
                  <a:lnTo>
                    <a:pt x="176854" y="144712"/>
                  </a:lnTo>
                  <a:lnTo>
                    <a:pt x="49408" y="0"/>
                  </a:lnTo>
                  <a:lnTo>
                    <a:pt x="4834" y="0"/>
                  </a:lnTo>
                  <a:lnTo>
                    <a:pt x="4834" y="13894"/>
                  </a:lnTo>
                  <a:lnTo>
                    <a:pt x="7292" y="14140"/>
                  </a:lnTo>
                  <a:cubicBezTo>
                    <a:pt x="14655" y="14643"/>
                    <a:pt x="16586" y="17101"/>
                    <a:pt x="16727" y="21163"/>
                  </a:cubicBezTo>
                  <a:lnTo>
                    <a:pt x="16727" y="164821"/>
                  </a:lnTo>
                  <a:cubicBezTo>
                    <a:pt x="16727" y="182882"/>
                    <a:pt x="16727" y="187728"/>
                    <a:pt x="2681" y="188372"/>
                  </a:cubicBezTo>
                  <a:lnTo>
                    <a:pt x="0" y="188513"/>
                  </a:lnTo>
                  <a:lnTo>
                    <a:pt x="0" y="202559"/>
                  </a:lnTo>
                  <a:lnTo>
                    <a:pt x="54523" y="202559"/>
                  </a:lnTo>
                  <a:lnTo>
                    <a:pt x="54523" y="188665"/>
                  </a:lnTo>
                  <a:lnTo>
                    <a:pt x="51936" y="188466"/>
                  </a:lnTo>
                  <a:cubicBezTo>
                    <a:pt x="38557" y="187424"/>
                    <a:pt x="38569" y="182145"/>
                    <a:pt x="38580" y="162457"/>
                  </a:cubicBezTo>
                  <a:lnTo>
                    <a:pt x="38580" y="46048"/>
                  </a:lnTo>
                  <a:lnTo>
                    <a:pt x="177873" y="203776"/>
                  </a:lnTo>
                  <a:lnTo>
                    <a:pt x="178716" y="204724"/>
                  </a:lnTo>
                  <a:lnTo>
                    <a:pt x="198708" y="204724"/>
                  </a:lnTo>
                  <a:lnTo>
                    <a:pt x="198708" y="39271"/>
                  </a:lnTo>
                  <a:cubicBezTo>
                    <a:pt x="198708" y="19080"/>
                    <a:pt x="199797" y="15521"/>
                    <a:pt x="211373" y="14421"/>
                  </a:cubicBezTo>
                  <a:lnTo>
                    <a:pt x="213948" y="14198"/>
                  </a:lnTo>
                  <a:lnTo>
                    <a:pt x="213948" y="0"/>
                  </a:lnTo>
                  <a:lnTo>
                    <a:pt x="160491" y="0"/>
                  </a:lnTo>
                  <a:close/>
                </a:path>
              </a:pathLst>
            </a:custGeom>
            <a:solidFill>
              <a:srgbClr val="000000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13" name="Freihandform: Form 12">
              <a:extLst>
                <a:ext uri="{FF2B5EF4-FFF2-40B4-BE49-F238E27FC236}">
                  <a16:creationId xmlns:a16="http://schemas.microsoft.com/office/drawing/2014/main" id="{0F7C4E8C-A527-47C2-AA6E-06D399421086}"/>
                </a:ext>
              </a:extLst>
            </p:cNvPr>
            <p:cNvSpPr/>
            <p:nvPr/>
          </p:nvSpPr>
          <p:spPr>
            <a:xfrm>
              <a:off x="10240056" y="330434"/>
              <a:ext cx="150166" cy="212964"/>
            </a:xfrm>
            <a:custGeom>
              <a:avLst/>
              <a:gdLst>
                <a:gd name="connsiteX0" fmla="*/ 87918 w 150166"/>
                <a:gd name="connsiteY0" fmla="*/ 86267 h 212964"/>
                <a:gd name="connsiteX1" fmla="*/ 87918 w 150166"/>
                <a:gd name="connsiteY1" fmla="*/ 86267 h 212964"/>
                <a:gd name="connsiteX2" fmla="*/ 43309 w 150166"/>
                <a:gd name="connsiteY2" fmla="*/ 46282 h 212964"/>
                <a:gd name="connsiteX3" fmla="*/ 73427 w 150166"/>
                <a:gd name="connsiteY3" fmla="*/ 17078 h 212964"/>
                <a:gd name="connsiteX4" fmla="*/ 120248 w 150166"/>
                <a:gd name="connsiteY4" fmla="*/ 39739 h 212964"/>
                <a:gd name="connsiteX5" fmla="*/ 121032 w 150166"/>
                <a:gd name="connsiteY5" fmla="*/ 41331 h 212964"/>
                <a:gd name="connsiteX6" fmla="*/ 136109 w 150166"/>
                <a:gd name="connsiteY6" fmla="*/ 41167 h 212964"/>
                <a:gd name="connsiteX7" fmla="*/ 129589 w 150166"/>
                <a:gd name="connsiteY7" fmla="*/ 3078 h 212964"/>
                <a:gd name="connsiteX8" fmla="*/ 120026 w 150166"/>
                <a:gd name="connsiteY8" fmla="*/ 3078 h 212964"/>
                <a:gd name="connsiteX9" fmla="*/ 118551 w 150166"/>
                <a:gd name="connsiteY9" fmla="*/ 3746 h 212964"/>
                <a:gd name="connsiteX10" fmla="*/ 110977 w 150166"/>
                <a:gd name="connsiteY10" fmla="*/ 5384 h 212964"/>
                <a:gd name="connsiteX11" fmla="*/ 101438 w 150166"/>
                <a:gd name="connsiteY11" fmla="*/ 3804 h 212964"/>
                <a:gd name="connsiteX12" fmla="*/ 95807 w 150166"/>
                <a:gd name="connsiteY12" fmla="*/ 2634 h 212964"/>
                <a:gd name="connsiteX13" fmla="*/ 69412 w 150166"/>
                <a:gd name="connsiteY13" fmla="*/ 0 h 212964"/>
                <a:gd name="connsiteX14" fmla="*/ 5103 w 150166"/>
                <a:gd name="connsiteY14" fmla="*/ 55096 h 212964"/>
                <a:gd name="connsiteX15" fmla="*/ 63817 w 150166"/>
                <a:gd name="connsiteY15" fmla="*/ 117415 h 212964"/>
                <a:gd name="connsiteX16" fmla="*/ 110966 w 150166"/>
                <a:gd name="connsiteY16" fmla="*/ 162094 h 212964"/>
                <a:gd name="connsiteX17" fmla="*/ 72093 w 150166"/>
                <a:gd name="connsiteY17" fmla="*/ 193944 h 212964"/>
                <a:gd name="connsiteX18" fmla="*/ 15030 w 150166"/>
                <a:gd name="connsiteY18" fmla="*/ 167174 h 212964"/>
                <a:gd name="connsiteX19" fmla="*/ 14327 w 150166"/>
                <a:gd name="connsiteY19" fmla="*/ 165418 h 212964"/>
                <a:gd name="connsiteX20" fmla="*/ 0 w 150166"/>
                <a:gd name="connsiteY20" fmla="*/ 165418 h 212964"/>
                <a:gd name="connsiteX21" fmla="*/ 6368 w 150166"/>
                <a:gd name="connsiteY21" fmla="*/ 208283 h 212964"/>
                <a:gd name="connsiteX22" fmla="*/ 17932 w 150166"/>
                <a:gd name="connsiteY22" fmla="*/ 208283 h 212964"/>
                <a:gd name="connsiteX23" fmla="*/ 18740 w 150166"/>
                <a:gd name="connsiteY23" fmla="*/ 207510 h 212964"/>
                <a:gd name="connsiteX24" fmla="*/ 25997 w 150166"/>
                <a:gd name="connsiteY24" fmla="*/ 205895 h 212964"/>
                <a:gd name="connsiteX25" fmla="*/ 38393 w 150166"/>
                <a:gd name="connsiteY25" fmla="*/ 208107 h 212964"/>
                <a:gd name="connsiteX26" fmla="*/ 74445 w 150166"/>
                <a:gd name="connsiteY26" fmla="*/ 212965 h 212964"/>
                <a:gd name="connsiteX27" fmla="*/ 150167 w 150166"/>
                <a:gd name="connsiteY27" fmla="*/ 152648 h 212964"/>
                <a:gd name="connsiteX28" fmla="*/ 87930 w 150166"/>
                <a:gd name="connsiteY28" fmla="*/ 86267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150166" h="212964">
                  <a:moveTo>
                    <a:pt x="87918" y="86267"/>
                  </a:moveTo>
                  <a:lnTo>
                    <a:pt x="87918" y="86267"/>
                  </a:lnTo>
                  <a:cubicBezTo>
                    <a:pt x="64976" y="74750"/>
                    <a:pt x="43309" y="63864"/>
                    <a:pt x="43309" y="46282"/>
                  </a:cubicBezTo>
                  <a:cubicBezTo>
                    <a:pt x="43309" y="34507"/>
                    <a:pt x="52884" y="17078"/>
                    <a:pt x="73427" y="17078"/>
                  </a:cubicBezTo>
                  <a:cubicBezTo>
                    <a:pt x="97142" y="17078"/>
                    <a:pt x="111305" y="23574"/>
                    <a:pt x="120248" y="39739"/>
                  </a:cubicBezTo>
                  <a:lnTo>
                    <a:pt x="121032" y="41331"/>
                  </a:lnTo>
                  <a:lnTo>
                    <a:pt x="136109" y="41167"/>
                  </a:lnTo>
                  <a:lnTo>
                    <a:pt x="129589" y="3078"/>
                  </a:lnTo>
                  <a:lnTo>
                    <a:pt x="120026" y="3078"/>
                  </a:lnTo>
                  <a:lnTo>
                    <a:pt x="118551" y="3746"/>
                  </a:lnTo>
                  <a:cubicBezTo>
                    <a:pt x="116205" y="4922"/>
                    <a:pt x="113600" y="5486"/>
                    <a:pt x="110977" y="5384"/>
                  </a:cubicBezTo>
                  <a:cubicBezTo>
                    <a:pt x="106998" y="5232"/>
                    <a:pt x="105242" y="4577"/>
                    <a:pt x="101438" y="3804"/>
                  </a:cubicBezTo>
                  <a:cubicBezTo>
                    <a:pt x="99822" y="3465"/>
                    <a:pt x="98031" y="3008"/>
                    <a:pt x="95807" y="2634"/>
                  </a:cubicBezTo>
                  <a:cubicBezTo>
                    <a:pt x="87117" y="890"/>
                    <a:pt x="78276" y="8"/>
                    <a:pt x="69412" y="0"/>
                  </a:cubicBezTo>
                  <a:cubicBezTo>
                    <a:pt x="33945" y="0"/>
                    <a:pt x="5103" y="24710"/>
                    <a:pt x="5103" y="55096"/>
                  </a:cubicBezTo>
                  <a:cubicBezTo>
                    <a:pt x="5103" y="85846"/>
                    <a:pt x="34952" y="101917"/>
                    <a:pt x="63817" y="117415"/>
                  </a:cubicBezTo>
                  <a:cubicBezTo>
                    <a:pt x="88059" y="130455"/>
                    <a:pt x="110966" y="142804"/>
                    <a:pt x="110966" y="162094"/>
                  </a:cubicBezTo>
                  <a:cubicBezTo>
                    <a:pt x="110966" y="180249"/>
                    <a:pt x="94251" y="193944"/>
                    <a:pt x="72093" y="193944"/>
                  </a:cubicBezTo>
                  <a:cubicBezTo>
                    <a:pt x="41799" y="193944"/>
                    <a:pt x="23130" y="185177"/>
                    <a:pt x="15030" y="167174"/>
                  </a:cubicBezTo>
                  <a:lnTo>
                    <a:pt x="14327" y="165418"/>
                  </a:lnTo>
                  <a:lnTo>
                    <a:pt x="0" y="165418"/>
                  </a:lnTo>
                  <a:lnTo>
                    <a:pt x="6368" y="208283"/>
                  </a:lnTo>
                  <a:lnTo>
                    <a:pt x="17932" y="208283"/>
                  </a:lnTo>
                  <a:lnTo>
                    <a:pt x="18740" y="207510"/>
                  </a:lnTo>
                  <a:cubicBezTo>
                    <a:pt x="20461" y="205965"/>
                    <a:pt x="22603" y="205860"/>
                    <a:pt x="25997" y="205895"/>
                  </a:cubicBezTo>
                  <a:cubicBezTo>
                    <a:pt x="29392" y="205930"/>
                    <a:pt x="33313" y="206878"/>
                    <a:pt x="38393" y="208107"/>
                  </a:cubicBezTo>
                  <a:cubicBezTo>
                    <a:pt x="50154" y="211257"/>
                    <a:pt x="62270" y="212889"/>
                    <a:pt x="74445" y="212965"/>
                  </a:cubicBezTo>
                  <a:cubicBezTo>
                    <a:pt x="118328" y="212965"/>
                    <a:pt x="150167" y="187600"/>
                    <a:pt x="150167" y="152648"/>
                  </a:cubicBezTo>
                  <a:cubicBezTo>
                    <a:pt x="150167" y="117696"/>
                    <a:pt x="117052" y="100922"/>
                    <a:pt x="87930" y="86267"/>
                  </a:cubicBezTo>
                </a:path>
              </a:pathLst>
            </a:custGeom>
            <a:solidFill>
              <a:srgbClr val="000000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14" name="Freihandform: Form 13">
              <a:extLst>
                <a:ext uri="{FF2B5EF4-FFF2-40B4-BE49-F238E27FC236}">
                  <a16:creationId xmlns:a16="http://schemas.microsoft.com/office/drawing/2014/main" id="{2FA2C46B-B400-4947-986C-BE8E0F44BF74}"/>
                </a:ext>
              </a:extLst>
            </p:cNvPr>
            <p:cNvSpPr/>
            <p:nvPr/>
          </p:nvSpPr>
          <p:spPr>
            <a:xfrm>
              <a:off x="10421346" y="335748"/>
              <a:ext cx="149780" cy="202570"/>
            </a:xfrm>
            <a:custGeom>
              <a:avLst/>
              <a:gdLst>
                <a:gd name="connsiteX0" fmla="*/ 10184 w 149780"/>
                <a:gd name="connsiteY0" fmla="*/ 176725 h 202570"/>
                <a:gd name="connsiteX1" fmla="*/ 2540 w 149780"/>
                <a:gd name="connsiteY1" fmla="*/ 187986 h 202570"/>
                <a:gd name="connsiteX2" fmla="*/ 0 w 149780"/>
                <a:gd name="connsiteY2" fmla="*/ 188232 h 202570"/>
                <a:gd name="connsiteX3" fmla="*/ 0 w 149780"/>
                <a:gd name="connsiteY3" fmla="*/ 202571 h 202570"/>
                <a:gd name="connsiteX4" fmla="*/ 144864 w 149780"/>
                <a:gd name="connsiteY4" fmla="*/ 202571 h 202570"/>
                <a:gd name="connsiteX5" fmla="*/ 149780 w 149780"/>
                <a:gd name="connsiteY5" fmla="*/ 162059 h 202570"/>
                <a:gd name="connsiteX6" fmla="*/ 134563 w 149780"/>
                <a:gd name="connsiteY6" fmla="*/ 162176 h 202570"/>
                <a:gd name="connsiteX7" fmla="*/ 133943 w 149780"/>
                <a:gd name="connsiteY7" fmla="*/ 164107 h 202570"/>
                <a:gd name="connsiteX8" fmla="*/ 101379 w 149780"/>
                <a:gd name="connsiteY8" fmla="*/ 182754 h 202570"/>
                <a:gd name="connsiteX9" fmla="*/ 64192 w 149780"/>
                <a:gd name="connsiteY9" fmla="*/ 182754 h 202570"/>
                <a:gd name="connsiteX10" fmla="*/ 49244 w 149780"/>
                <a:gd name="connsiteY10" fmla="*/ 162749 h 202570"/>
                <a:gd name="connsiteX11" fmla="*/ 49244 w 149780"/>
                <a:gd name="connsiteY11" fmla="*/ 107875 h 202570"/>
                <a:gd name="connsiteX12" fmla="*/ 89042 w 149780"/>
                <a:gd name="connsiteY12" fmla="*/ 107875 h 202570"/>
                <a:gd name="connsiteX13" fmla="*/ 107630 w 149780"/>
                <a:gd name="connsiteY13" fmla="*/ 118878 h 202570"/>
                <a:gd name="connsiteX14" fmla="*/ 108051 w 149780"/>
                <a:gd name="connsiteY14" fmla="*/ 121219 h 202570"/>
                <a:gd name="connsiteX15" fmla="*/ 122542 w 149780"/>
                <a:gd name="connsiteY15" fmla="*/ 121219 h 202570"/>
                <a:gd name="connsiteX16" fmla="*/ 122542 w 149780"/>
                <a:gd name="connsiteY16" fmla="*/ 75569 h 202570"/>
                <a:gd name="connsiteX17" fmla="*/ 108285 w 149780"/>
                <a:gd name="connsiteY17" fmla="*/ 75569 h 202570"/>
                <a:gd name="connsiteX18" fmla="*/ 107934 w 149780"/>
                <a:gd name="connsiteY18" fmla="*/ 77910 h 202570"/>
                <a:gd name="connsiteX19" fmla="*/ 89042 w 149780"/>
                <a:gd name="connsiteY19" fmla="*/ 88105 h 202570"/>
                <a:gd name="connsiteX20" fmla="*/ 49244 w 149780"/>
                <a:gd name="connsiteY20" fmla="*/ 88105 h 202570"/>
                <a:gd name="connsiteX21" fmla="*/ 49244 w 149780"/>
                <a:gd name="connsiteY21" fmla="*/ 19829 h 202570"/>
                <a:gd name="connsiteX22" fmla="*/ 102550 w 149780"/>
                <a:gd name="connsiteY22" fmla="*/ 19829 h 202570"/>
                <a:gd name="connsiteX23" fmla="*/ 124310 w 149780"/>
                <a:gd name="connsiteY23" fmla="*/ 34226 h 202570"/>
                <a:gd name="connsiteX24" fmla="*/ 124883 w 149780"/>
                <a:gd name="connsiteY24" fmla="*/ 36286 h 202570"/>
                <a:gd name="connsiteX25" fmla="*/ 140100 w 149780"/>
                <a:gd name="connsiteY25" fmla="*/ 36286 h 202570"/>
                <a:gd name="connsiteX26" fmla="*/ 137595 w 149780"/>
                <a:gd name="connsiteY26" fmla="*/ 0 h 202570"/>
                <a:gd name="connsiteX27" fmla="*/ 222 w 149780"/>
                <a:gd name="connsiteY27" fmla="*/ 0 h 202570"/>
                <a:gd name="connsiteX28" fmla="*/ 222 w 149780"/>
                <a:gd name="connsiteY28" fmla="*/ 14198 h 202570"/>
                <a:gd name="connsiteX29" fmla="*/ 2798 w 149780"/>
                <a:gd name="connsiteY29" fmla="*/ 14374 h 202570"/>
                <a:gd name="connsiteX30" fmla="*/ 10207 w 149780"/>
                <a:gd name="connsiteY30" fmla="*/ 32412 h 2025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149780" h="202570">
                  <a:moveTo>
                    <a:pt x="10184" y="176725"/>
                  </a:moveTo>
                  <a:cubicBezTo>
                    <a:pt x="9973" y="184626"/>
                    <a:pt x="9774" y="187260"/>
                    <a:pt x="2540" y="187986"/>
                  </a:cubicBezTo>
                  <a:lnTo>
                    <a:pt x="0" y="188232"/>
                  </a:lnTo>
                  <a:lnTo>
                    <a:pt x="0" y="202571"/>
                  </a:lnTo>
                  <a:lnTo>
                    <a:pt x="144864" y="202571"/>
                  </a:lnTo>
                  <a:lnTo>
                    <a:pt x="149780" y="162059"/>
                  </a:lnTo>
                  <a:lnTo>
                    <a:pt x="134563" y="162176"/>
                  </a:lnTo>
                  <a:lnTo>
                    <a:pt x="133943" y="164107"/>
                  </a:lnTo>
                  <a:cubicBezTo>
                    <a:pt x="127927" y="182964"/>
                    <a:pt x="121734" y="182906"/>
                    <a:pt x="101379" y="182754"/>
                  </a:cubicBezTo>
                  <a:lnTo>
                    <a:pt x="64192" y="182754"/>
                  </a:lnTo>
                  <a:cubicBezTo>
                    <a:pt x="49654" y="182754"/>
                    <a:pt x="49244" y="179909"/>
                    <a:pt x="49244" y="162749"/>
                  </a:cubicBezTo>
                  <a:lnTo>
                    <a:pt x="49244" y="107875"/>
                  </a:lnTo>
                  <a:lnTo>
                    <a:pt x="89042" y="107875"/>
                  </a:lnTo>
                  <a:cubicBezTo>
                    <a:pt x="102292" y="107875"/>
                    <a:pt x="105066" y="108168"/>
                    <a:pt x="107630" y="118878"/>
                  </a:cubicBezTo>
                  <a:lnTo>
                    <a:pt x="108051" y="121219"/>
                  </a:lnTo>
                  <a:lnTo>
                    <a:pt x="122542" y="121219"/>
                  </a:lnTo>
                  <a:lnTo>
                    <a:pt x="122542" y="75569"/>
                  </a:lnTo>
                  <a:lnTo>
                    <a:pt x="108285" y="75569"/>
                  </a:lnTo>
                  <a:lnTo>
                    <a:pt x="107934" y="77910"/>
                  </a:lnTo>
                  <a:cubicBezTo>
                    <a:pt x="106248" y="87368"/>
                    <a:pt x="103158" y="88105"/>
                    <a:pt x="89042" y="88105"/>
                  </a:cubicBezTo>
                  <a:lnTo>
                    <a:pt x="49244" y="88105"/>
                  </a:lnTo>
                  <a:lnTo>
                    <a:pt x="49244" y="19829"/>
                  </a:lnTo>
                  <a:lnTo>
                    <a:pt x="102550" y="19829"/>
                  </a:lnTo>
                  <a:cubicBezTo>
                    <a:pt x="116233" y="19829"/>
                    <a:pt x="120716" y="19829"/>
                    <a:pt x="124310" y="34226"/>
                  </a:cubicBezTo>
                  <a:lnTo>
                    <a:pt x="124883" y="36286"/>
                  </a:lnTo>
                  <a:lnTo>
                    <a:pt x="140100" y="36286"/>
                  </a:lnTo>
                  <a:lnTo>
                    <a:pt x="137595" y="0"/>
                  </a:lnTo>
                  <a:lnTo>
                    <a:pt x="222" y="0"/>
                  </a:lnTo>
                  <a:lnTo>
                    <a:pt x="222" y="14198"/>
                  </a:lnTo>
                  <a:lnTo>
                    <a:pt x="2798" y="14374"/>
                  </a:lnTo>
                  <a:cubicBezTo>
                    <a:pt x="10102" y="15252"/>
                    <a:pt x="10113" y="17886"/>
                    <a:pt x="10207" y="32412"/>
                  </a:cubicBezTo>
                  <a:close/>
                </a:path>
              </a:pathLst>
            </a:custGeom>
            <a:solidFill>
              <a:srgbClr val="000000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15" name="Freihandform: Form 14">
              <a:extLst>
                <a:ext uri="{FF2B5EF4-FFF2-40B4-BE49-F238E27FC236}">
                  <a16:creationId xmlns:a16="http://schemas.microsoft.com/office/drawing/2014/main" id="{B789AC03-E85A-4590-82EF-C418EDFEBFF9}"/>
                </a:ext>
              </a:extLst>
            </p:cNvPr>
            <p:cNvSpPr/>
            <p:nvPr/>
          </p:nvSpPr>
          <p:spPr>
            <a:xfrm>
              <a:off x="11496262" y="332657"/>
              <a:ext cx="216465" cy="208540"/>
            </a:xfrm>
            <a:custGeom>
              <a:avLst/>
              <a:gdLst>
                <a:gd name="connsiteX0" fmla="*/ 145742 w 216465"/>
                <a:gd name="connsiteY0" fmla="*/ 131087 h 208540"/>
                <a:gd name="connsiteX1" fmla="*/ 125609 w 216465"/>
                <a:gd name="connsiteY1" fmla="*/ 111902 h 208540"/>
                <a:gd name="connsiteX2" fmla="*/ 162609 w 216465"/>
                <a:gd name="connsiteY2" fmla="*/ 59556 h 208540"/>
                <a:gd name="connsiteX3" fmla="*/ 74738 w 216465"/>
                <a:gd name="connsiteY3" fmla="*/ 0 h 208540"/>
                <a:gd name="connsiteX4" fmla="*/ 36321 w 216465"/>
                <a:gd name="connsiteY4" fmla="*/ 632 h 208540"/>
                <a:gd name="connsiteX5" fmla="*/ 15147 w 216465"/>
                <a:gd name="connsiteY5" fmla="*/ 1662 h 208540"/>
                <a:gd name="connsiteX6" fmla="*/ 6450 w 216465"/>
                <a:gd name="connsiteY6" fmla="*/ 2247 h 208540"/>
                <a:gd name="connsiteX7" fmla="*/ 6450 w 216465"/>
                <a:gd name="connsiteY7" fmla="*/ 16586 h 208540"/>
                <a:gd name="connsiteX8" fmla="*/ 8978 w 216465"/>
                <a:gd name="connsiteY8" fmla="*/ 16703 h 208540"/>
                <a:gd name="connsiteX9" fmla="*/ 17698 w 216465"/>
                <a:gd name="connsiteY9" fmla="*/ 25061 h 208540"/>
                <a:gd name="connsiteX10" fmla="*/ 17581 w 216465"/>
                <a:gd name="connsiteY10" fmla="*/ 173413 h 208540"/>
                <a:gd name="connsiteX11" fmla="*/ 2669 w 216465"/>
                <a:gd name="connsiteY11" fmla="*/ 191486 h 208540"/>
                <a:gd name="connsiteX12" fmla="*/ 0 w 216465"/>
                <a:gd name="connsiteY12" fmla="*/ 191626 h 208540"/>
                <a:gd name="connsiteX13" fmla="*/ 0 w 216465"/>
                <a:gd name="connsiteY13" fmla="*/ 205672 h 208540"/>
                <a:gd name="connsiteX14" fmla="*/ 76435 w 216465"/>
                <a:gd name="connsiteY14" fmla="*/ 205672 h 208540"/>
                <a:gd name="connsiteX15" fmla="*/ 76435 w 216465"/>
                <a:gd name="connsiteY15" fmla="*/ 191544 h 208540"/>
                <a:gd name="connsiteX16" fmla="*/ 73790 w 216465"/>
                <a:gd name="connsiteY16" fmla="*/ 191544 h 208540"/>
                <a:gd name="connsiteX17" fmla="*/ 58374 w 216465"/>
                <a:gd name="connsiteY17" fmla="*/ 164353 h 208540"/>
                <a:gd name="connsiteX18" fmla="*/ 58374 w 216465"/>
                <a:gd name="connsiteY18" fmla="*/ 124192 h 208540"/>
                <a:gd name="connsiteX19" fmla="*/ 82651 w 216465"/>
                <a:gd name="connsiteY19" fmla="*/ 123982 h 208540"/>
                <a:gd name="connsiteX20" fmla="*/ 115425 w 216465"/>
                <a:gd name="connsiteY20" fmla="*/ 153526 h 208540"/>
                <a:gd name="connsiteX21" fmla="*/ 132035 w 216465"/>
                <a:gd name="connsiteY21" fmla="*/ 170276 h 208540"/>
                <a:gd name="connsiteX22" fmla="*/ 141926 w 216465"/>
                <a:gd name="connsiteY22" fmla="*/ 180612 h 208540"/>
                <a:gd name="connsiteX23" fmla="*/ 148797 w 216465"/>
                <a:gd name="connsiteY23" fmla="*/ 188232 h 208540"/>
                <a:gd name="connsiteX24" fmla="*/ 201798 w 216465"/>
                <a:gd name="connsiteY24" fmla="*/ 208540 h 208540"/>
                <a:gd name="connsiteX25" fmla="*/ 213281 w 216465"/>
                <a:gd name="connsiteY25" fmla="*/ 208376 h 208540"/>
                <a:gd name="connsiteX26" fmla="*/ 216465 w 216465"/>
                <a:gd name="connsiteY26" fmla="*/ 208306 h 208540"/>
                <a:gd name="connsiteX27" fmla="*/ 216465 w 216465"/>
                <a:gd name="connsiteY27" fmla="*/ 194201 h 208540"/>
                <a:gd name="connsiteX28" fmla="*/ 213504 w 216465"/>
                <a:gd name="connsiteY28" fmla="*/ 193932 h 208540"/>
                <a:gd name="connsiteX29" fmla="*/ 213504 w 216465"/>
                <a:gd name="connsiteY29" fmla="*/ 193932 h 208540"/>
                <a:gd name="connsiteX30" fmla="*/ 190316 w 216465"/>
                <a:gd name="connsiteY30" fmla="*/ 177159 h 208540"/>
                <a:gd name="connsiteX31" fmla="*/ 171131 w 216465"/>
                <a:gd name="connsiteY31" fmla="*/ 156967 h 208540"/>
                <a:gd name="connsiteX32" fmla="*/ 119031 w 216465"/>
                <a:gd name="connsiteY32" fmla="*/ 62728 h 208540"/>
                <a:gd name="connsiteX33" fmla="*/ 65713 w 216465"/>
                <a:gd name="connsiteY33" fmla="*/ 110041 h 208540"/>
                <a:gd name="connsiteX34" fmla="*/ 58397 w 216465"/>
                <a:gd name="connsiteY34" fmla="*/ 109725 h 208540"/>
                <a:gd name="connsiteX35" fmla="*/ 58397 w 216465"/>
                <a:gd name="connsiteY35" fmla="*/ 15334 h 208540"/>
                <a:gd name="connsiteX36" fmla="*/ 71542 w 216465"/>
                <a:gd name="connsiteY36" fmla="*/ 15182 h 208540"/>
                <a:gd name="connsiteX37" fmla="*/ 119031 w 216465"/>
                <a:gd name="connsiteY37" fmla="*/ 62728 h 2085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16465" h="208540">
                  <a:moveTo>
                    <a:pt x="145742" y="131087"/>
                  </a:moveTo>
                  <a:cubicBezTo>
                    <a:pt x="143541" y="128874"/>
                    <a:pt x="132632" y="117930"/>
                    <a:pt x="125609" y="111902"/>
                  </a:cubicBezTo>
                  <a:cubicBezTo>
                    <a:pt x="150190" y="100325"/>
                    <a:pt x="162609" y="82721"/>
                    <a:pt x="162609" y="59556"/>
                  </a:cubicBezTo>
                  <a:cubicBezTo>
                    <a:pt x="162609" y="41647"/>
                    <a:pt x="154053" y="0"/>
                    <a:pt x="74738" y="0"/>
                  </a:cubicBezTo>
                  <a:cubicBezTo>
                    <a:pt x="68242" y="0"/>
                    <a:pt x="53037" y="0"/>
                    <a:pt x="36321" y="632"/>
                  </a:cubicBezTo>
                  <a:cubicBezTo>
                    <a:pt x="26243" y="1077"/>
                    <a:pt x="20332" y="1393"/>
                    <a:pt x="15147" y="1662"/>
                  </a:cubicBezTo>
                  <a:lnTo>
                    <a:pt x="6450" y="2247"/>
                  </a:lnTo>
                  <a:lnTo>
                    <a:pt x="6450" y="16586"/>
                  </a:lnTo>
                  <a:lnTo>
                    <a:pt x="8978" y="16703"/>
                  </a:lnTo>
                  <a:cubicBezTo>
                    <a:pt x="15240" y="17160"/>
                    <a:pt x="17616" y="18787"/>
                    <a:pt x="17698" y="25061"/>
                  </a:cubicBezTo>
                  <a:lnTo>
                    <a:pt x="17581" y="173413"/>
                  </a:lnTo>
                  <a:cubicBezTo>
                    <a:pt x="17195" y="185715"/>
                    <a:pt x="16411" y="190842"/>
                    <a:pt x="2669" y="191486"/>
                  </a:cubicBezTo>
                  <a:lnTo>
                    <a:pt x="0" y="191626"/>
                  </a:lnTo>
                  <a:lnTo>
                    <a:pt x="0" y="205672"/>
                  </a:lnTo>
                  <a:lnTo>
                    <a:pt x="76435" y="205672"/>
                  </a:lnTo>
                  <a:lnTo>
                    <a:pt x="76435" y="191544"/>
                  </a:lnTo>
                  <a:lnTo>
                    <a:pt x="73790" y="191544"/>
                  </a:lnTo>
                  <a:cubicBezTo>
                    <a:pt x="58362" y="190783"/>
                    <a:pt x="58374" y="187260"/>
                    <a:pt x="58374" y="164353"/>
                  </a:cubicBezTo>
                  <a:lnTo>
                    <a:pt x="58374" y="124192"/>
                  </a:lnTo>
                  <a:cubicBezTo>
                    <a:pt x="66462" y="124664"/>
                    <a:pt x="74574" y="124593"/>
                    <a:pt x="82651" y="123982"/>
                  </a:cubicBezTo>
                  <a:cubicBezTo>
                    <a:pt x="95000" y="133205"/>
                    <a:pt x="99635" y="137583"/>
                    <a:pt x="115425" y="153526"/>
                  </a:cubicBezTo>
                  <a:lnTo>
                    <a:pt x="132035" y="170276"/>
                  </a:lnTo>
                  <a:cubicBezTo>
                    <a:pt x="135804" y="174092"/>
                    <a:pt x="139058" y="177556"/>
                    <a:pt x="141926" y="180612"/>
                  </a:cubicBezTo>
                  <a:cubicBezTo>
                    <a:pt x="144525" y="183374"/>
                    <a:pt x="146784" y="185949"/>
                    <a:pt x="148797" y="188232"/>
                  </a:cubicBezTo>
                  <a:cubicBezTo>
                    <a:pt x="161087" y="202173"/>
                    <a:pt x="166706" y="208540"/>
                    <a:pt x="201798" y="208540"/>
                  </a:cubicBezTo>
                  <a:cubicBezTo>
                    <a:pt x="205310" y="208540"/>
                    <a:pt x="209044" y="208540"/>
                    <a:pt x="213281" y="208376"/>
                  </a:cubicBezTo>
                  <a:lnTo>
                    <a:pt x="216465" y="208306"/>
                  </a:lnTo>
                  <a:lnTo>
                    <a:pt x="216465" y="194201"/>
                  </a:lnTo>
                  <a:lnTo>
                    <a:pt x="213504" y="193932"/>
                  </a:lnTo>
                  <a:lnTo>
                    <a:pt x="213504" y="193932"/>
                  </a:lnTo>
                  <a:cubicBezTo>
                    <a:pt x="205228" y="193160"/>
                    <a:pt x="200253" y="187810"/>
                    <a:pt x="190316" y="177159"/>
                  </a:cubicBezTo>
                  <a:lnTo>
                    <a:pt x="171131" y="156967"/>
                  </a:lnTo>
                  <a:close/>
                  <a:moveTo>
                    <a:pt x="119031" y="62728"/>
                  </a:moveTo>
                  <a:cubicBezTo>
                    <a:pt x="119031" y="95210"/>
                    <a:pt x="104247" y="108554"/>
                    <a:pt x="65713" y="110041"/>
                  </a:cubicBezTo>
                  <a:cubicBezTo>
                    <a:pt x="64543" y="110041"/>
                    <a:pt x="61195" y="110041"/>
                    <a:pt x="58397" y="109725"/>
                  </a:cubicBezTo>
                  <a:lnTo>
                    <a:pt x="58397" y="15334"/>
                  </a:lnTo>
                  <a:cubicBezTo>
                    <a:pt x="62225" y="15182"/>
                    <a:pt x="68101" y="15182"/>
                    <a:pt x="71542" y="15182"/>
                  </a:cubicBezTo>
                  <a:cubicBezTo>
                    <a:pt x="103193" y="15170"/>
                    <a:pt x="119031" y="31159"/>
                    <a:pt x="119031" y="62728"/>
                  </a:cubicBezTo>
                  <a:close/>
                </a:path>
              </a:pathLst>
            </a:custGeom>
            <a:solidFill>
              <a:srgbClr val="000000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16" name="Freihandform: Form 15">
              <a:extLst>
                <a:ext uri="{FF2B5EF4-FFF2-40B4-BE49-F238E27FC236}">
                  <a16:creationId xmlns:a16="http://schemas.microsoft.com/office/drawing/2014/main" id="{8EC5F2AF-50F7-42C0-BF67-59E29629103A}"/>
                </a:ext>
              </a:extLst>
            </p:cNvPr>
            <p:cNvSpPr/>
            <p:nvPr/>
          </p:nvSpPr>
          <p:spPr>
            <a:xfrm>
              <a:off x="10830304" y="335724"/>
              <a:ext cx="207171" cy="202652"/>
            </a:xfrm>
            <a:custGeom>
              <a:avLst/>
              <a:gdLst>
                <a:gd name="connsiteX0" fmla="*/ 121430 w 207171"/>
                <a:gd name="connsiteY0" fmla="*/ 0 h 202652"/>
                <a:gd name="connsiteX1" fmla="*/ 90762 w 207171"/>
                <a:gd name="connsiteY1" fmla="*/ 0 h 202652"/>
                <a:gd name="connsiteX2" fmla="*/ 24979 w 207171"/>
                <a:gd name="connsiteY2" fmla="*/ 164529 h 202652"/>
                <a:gd name="connsiteX3" fmla="*/ 2610 w 207171"/>
                <a:gd name="connsiteY3" fmla="*/ 188431 h 202652"/>
                <a:gd name="connsiteX4" fmla="*/ 0 w 207171"/>
                <a:gd name="connsiteY4" fmla="*/ 188606 h 202652"/>
                <a:gd name="connsiteX5" fmla="*/ 0 w 207171"/>
                <a:gd name="connsiteY5" fmla="*/ 202652 h 202652"/>
                <a:gd name="connsiteX6" fmla="*/ 56735 w 207171"/>
                <a:gd name="connsiteY6" fmla="*/ 202652 h 202652"/>
                <a:gd name="connsiteX7" fmla="*/ 56735 w 207171"/>
                <a:gd name="connsiteY7" fmla="*/ 188712 h 202652"/>
                <a:gd name="connsiteX8" fmla="*/ 54184 w 207171"/>
                <a:gd name="connsiteY8" fmla="*/ 188489 h 202652"/>
                <a:gd name="connsiteX9" fmla="*/ 41530 w 207171"/>
                <a:gd name="connsiteY9" fmla="*/ 178879 h 202652"/>
                <a:gd name="connsiteX10" fmla="*/ 44562 w 207171"/>
                <a:gd name="connsiteY10" fmla="*/ 167478 h 202652"/>
                <a:gd name="connsiteX11" fmla="*/ 59779 w 207171"/>
                <a:gd name="connsiteY11" fmla="*/ 128196 h 202652"/>
                <a:gd name="connsiteX12" fmla="*/ 129706 w 207171"/>
                <a:gd name="connsiteY12" fmla="*/ 128196 h 202652"/>
                <a:gd name="connsiteX13" fmla="*/ 144923 w 207171"/>
                <a:gd name="connsiteY13" fmla="*/ 167385 h 202652"/>
                <a:gd name="connsiteX14" fmla="*/ 148844 w 207171"/>
                <a:gd name="connsiteY14" fmla="*/ 179734 h 202652"/>
                <a:gd name="connsiteX15" fmla="*/ 148937 w 207171"/>
                <a:gd name="connsiteY15" fmla="*/ 180202 h 202652"/>
                <a:gd name="connsiteX16" fmla="*/ 147896 w 207171"/>
                <a:gd name="connsiteY16" fmla="*/ 184802 h 202652"/>
                <a:gd name="connsiteX17" fmla="*/ 136577 w 207171"/>
                <a:gd name="connsiteY17" fmla="*/ 188243 h 202652"/>
                <a:gd name="connsiteX18" fmla="*/ 134002 w 207171"/>
                <a:gd name="connsiteY18" fmla="*/ 188442 h 202652"/>
                <a:gd name="connsiteX19" fmla="*/ 134002 w 207171"/>
                <a:gd name="connsiteY19" fmla="*/ 202606 h 202652"/>
                <a:gd name="connsiteX20" fmla="*/ 207171 w 207171"/>
                <a:gd name="connsiteY20" fmla="*/ 202606 h 202652"/>
                <a:gd name="connsiteX21" fmla="*/ 207171 w 207171"/>
                <a:gd name="connsiteY21" fmla="*/ 188700 h 202652"/>
                <a:gd name="connsiteX22" fmla="*/ 204502 w 207171"/>
                <a:gd name="connsiteY22" fmla="*/ 188559 h 202652"/>
                <a:gd name="connsiteX23" fmla="*/ 184603 w 207171"/>
                <a:gd name="connsiteY23" fmla="*/ 167759 h 202652"/>
                <a:gd name="connsiteX24" fmla="*/ 121641 w 207171"/>
                <a:gd name="connsiteY24" fmla="*/ 107161 h 202652"/>
                <a:gd name="connsiteX25" fmla="*/ 67797 w 207171"/>
                <a:gd name="connsiteY25" fmla="*/ 107161 h 202652"/>
                <a:gd name="connsiteX26" fmla="*/ 95140 w 207171"/>
                <a:gd name="connsiteY26" fmla="*/ 37012 h 2026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207171" h="202652">
                  <a:moveTo>
                    <a:pt x="121430" y="0"/>
                  </a:moveTo>
                  <a:lnTo>
                    <a:pt x="90762" y="0"/>
                  </a:lnTo>
                  <a:lnTo>
                    <a:pt x="24979" y="164529"/>
                  </a:lnTo>
                  <a:cubicBezTo>
                    <a:pt x="17172" y="183994"/>
                    <a:pt x="15755" y="187506"/>
                    <a:pt x="2610" y="188431"/>
                  </a:cubicBezTo>
                  <a:lnTo>
                    <a:pt x="0" y="188606"/>
                  </a:lnTo>
                  <a:lnTo>
                    <a:pt x="0" y="202652"/>
                  </a:lnTo>
                  <a:lnTo>
                    <a:pt x="56735" y="202652"/>
                  </a:lnTo>
                  <a:lnTo>
                    <a:pt x="56735" y="188712"/>
                  </a:lnTo>
                  <a:lnTo>
                    <a:pt x="54184" y="188489"/>
                  </a:lnTo>
                  <a:cubicBezTo>
                    <a:pt x="43649" y="187319"/>
                    <a:pt x="41202" y="183315"/>
                    <a:pt x="41530" y="178879"/>
                  </a:cubicBezTo>
                  <a:cubicBezTo>
                    <a:pt x="41741" y="176105"/>
                    <a:pt x="42572" y="172839"/>
                    <a:pt x="44562" y="167478"/>
                  </a:cubicBezTo>
                  <a:lnTo>
                    <a:pt x="59779" y="128196"/>
                  </a:lnTo>
                  <a:lnTo>
                    <a:pt x="129706" y="128196"/>
                  </a:lnTo>
                  <a:lnTo>
                    <a:pt x="144923" y="167385"/>
                  </a:lnTo>
                  <a:cubicBezTo>
                    <a:pt x="147369" y="174326"/>
                    <a:pt x="147907" y="175672"/>
                    <a:pt x="148844" y="179734"/>
                  </a:cubicBezTo>
                  <a:lnTo>
                    <a:pt x="148937" y="180202"/>
                  </a:lnTo>
                  <a:cubicBezTo>
                    <a:pt x="149324" y="181814"/>
                    <a:pt x="148939" y="183513"/>
                    <a:pt x="147896" y="184802"/>
                  </a:cubicBezTo>
                  <a:cubicBezTo>
                    <a:pt x="146421" y="186651"/>
                    <a:pt x="142780" y="187763"/>
                    <a:pt x="136577" y="188243"/>
                  </a:cubicBezTo>
                  <a:lnTo>
                    <a:pt x="134002" y="188442"/>
                  </a:lnTo>
                  <a:lnTo>
                    <a:pt x="134002" y="202606"/>
                  </a:lnTo>
                  <a:lnTo>
                    <a:pt x="207171" y="202606"/>
                  </a:lnTo>
                  <a:lnTo>
                    <a:pt x="207171" y="188700"/>
                  </a:lnTo>
                  <a:lnTo>
                    <a:pt x="204502" y="188559"/>
                  </a:lnTo>
                  <a:cubicBezTo>
                    <a:pt x="191989" y="187986"/>
                    <a:pt x="190854" y="184896"/>
                    <a:pt x="184603" y="167759"/>
                  </a:cubicBezTo>
                  <a:close/>
                  <a:moveTo>
                    <a:pt x="121641" y="107161"/>
                  </a:moveTo>
                  <a:lnTo>
                    <a:pt x="67797" y="107161"/>
                  </a:lnTo>
                  <a:lnTo>
                    <a:pt x="95140" y="37012"/>
                  </a:lnTo>
                  <a:close/>
                </a:path>
              </a:pathLst>
            </a:custGeom>
            <a:solidFill>
              <a:srgbClr val="000000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17" name="Freihandform: Form 16">
              <a:extLst>
                <a:ext uri="{FF2B5EF4-FFF2-40B4-BE49-F238E27FC236}">
                  <a16:creationId xmlns:a16="http://schemas.microsoft.com/office/drawing/2014/main" id="{30826DB0-AD3B-474C-AFA7-1A3A9030BA8D}"/>
                </a:ext>
              </a:extLst>
            </p:cNvPr>
            <p:cNvSpPr/>
            <p:nvPr/>
          </p:nvSpPr>
          <p:spPr>
            <a:xfrm>
              <a:off x="11256925" y="330434"/>
              <a:ext cx="218794" cy="212964"/>
            </a:xfrm>
            <a:custGeom>
              <a:avLst/>
              <a:gdLst>
                <a:gd name="connsiteX0" fmla="*/ 109397 w 218794"/>
                <a:gd name="connsiteY0" fmla="*/ 0 h 212964"/>
                <a:gd name="connsiteX1" fmla="*/ 0 w 218794"/>
                <a:gd name="connsiteY1" fmla="*/ 111878 h 212964"/>
                <a:gd name="connsiteX2" fmla="*/ 108227 w 218794"/>
                <a:gd name="connsiteY2" fmla="*/ 212965 h 212964"/>
                <a:gd name="connsiteX3" fmla="*/ 218794 w 218794"/>
                <a:gd name="connsiteY3" fmla="*/ 102994 h 212964"/>
                <a:gd name="connsiteX4" fmla="*/ 109397 w 218794"/>
                <a:gd name="connsiteY4" fmla="*/ 0 h 212964"/>
                <a:gd name="connsiteX5" fmla="*/ 177861 w 218794"/>
                <a:gd name="connsiteY5" fmla="*/ 110919 h 212964"/>
                <a:gd name="connsiteX6" fmla="*/ 112897 w 218794"/>
                <a:gd name="connsiteY6" fmla="*/ 197210 h 212964"/>
                <a:gd name="connsiteX7" fmla="*/ 40945 w 218794"/>
                <a:gd name="connsiteY7" fmla="*/ 103310 h 212964"/>
                <a:gd name="connsiteX8" fmla="*/ 107056 w 218794"/>
                <a:gd name="connsiteY8" fmla="*/ 15744 h 212964"/>
                <a:gd name="connsiteX9" fmla="*/ 177861 w 218794"/>
                <a:gd name="connsiteY9" fmla="*/ 110919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18794" h="212964">
                  <a:moveTo>
                    <a:pt x="109397" y="0"/>
                  </a:moveTo>
                  <a:cubicBezTo>
                    <a:pt x="45966" y="0"/>
                    <a:pt x="0" y="47043"/>
                    <a:pt x="0" y="111878"/>
                  </a:cubicBezTo>
                  <a:cubicBezTo>
                    <a:pt x="0" y="170405"/>
                    <a:pt x="45522" y="212965"/>
                    <a:pt x="108227" y="212965"/>
                  </a:cubicBezTo>
                  <a:cubicBezTo>
                    <a:pt x="171259" y="212965"/>
                    <a:pt x="218794" y="165687"/>
                    <a:pt x="218794" y="102994"/>
                  </a:cubicBezTo>
                  <a:cubicBezTo>
                    <a:pt x="218794" y="42349"/>
                    <a:pt x="173811" y="0"/>
                    <a:pt x="109397" y="0"/>
                  </a:cubicBezTo>
                  <a:close/>
                  <a:moveTo>
                    <a:pt x="177861" y="110919"/>
                  </a:moveTo>
                  <a:cubicBezTo>
                    <a:pt x="177861" y="162539"/>
                    <a:pt x="151758" y="197210"/>
                    <a:pt x="112897" y="197210"/>
                  </a:cubicBezTo>
                  <a:cubicBezTo>
                    <a:pt x="77138" y="197210"/>
                    <a:pt x="40945" y="164950"/>
                    <a:pt x="40945" y="103310"/>
                  </a:cubicBezTo>
                  <a:cubicBezTo>
                    <a:pt x="40945" y="49302"/>
                    <a:pt x="66275" y="15744"/>
                    <a:pt x="107056" y="15744"/>
                  </a:cubicBezTo>
                  <a:cubicBezTo>
                    <a:pt x="148738" y="15744"/>
                    <a:pt x="177861" y="54886"/>
                    <a:pt x="177861" y="110919"/>
                  </a:cubicBezTo>
                  <a:close/>
                </a:path>
              </a:pathLst>
            </a:custGeom>
            <a:solidFill>
              <a:srgbClr val="000000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19" name="Freihandform: Form 18">
              <a:extLst>
                <a:ext uri="{FF2B5EF4-FFF2-40B4-BE49-F238E27FC236}">
                  <a16:creationId xmlns:a16="http://schemas.microsoft.com/office/drawing/2014/main" id="{819807EA-3F8A-486D-ADCB-6F9574397D48}"/>
                </a:ext>
              </a:extLst>
            </p:cNvPr>
            <p:cNvSpPr/>
            <p:nvPr/>
          </p:nvSpPr>
          <p:spPr>
            <a:xfrm>
              <a:off x="11045727" y="330434"/>
              <a:ext cx="196811" cy="212964"/>
            </a:xfrm>
            <a:custGeom>
              <a:avLst/>
              <a:gdLst>
                <a:gd name="connsiteX0" fmla="*/ 196812 w 196811"/>
                <a:gd name="connsiteY0" fmla="*/ 165348 h 212964"/>
                <a:gd name="connsiteX1" fmla="*/ 180635 w 196811"/>
                <a:gd name="connsiteY1" fmla="*/ 165547 h 212964"/>
                <a:gd name="connsiteX2" fmla="*/ 179828 w 196811"/>
                <a:gd name="connsiteY2" fmla="*/ 166659 h 212964"/>
                <a:gd name="connsiteX3" fmla="*/ 118960 w 196811"/>
                <a:gd name="connsiteY3" fmla="*/ 195922 h 212964"/>
                <a:gd name="connsiteX4" fmla="*/ 70255 w 196811"/>
                <a:gd name="connsiteY4" fmla="*/ 176585 h 212964"/>
                <a:gd name="connsiteX5" fmla="*/ 41729 w 196811"/>
                <a:gd name="connsiteY5" fmla="*/ 102023 h 212964"/>
                <a:gd name="connsiteX6" fmla="*/ 113623 w 196811"/>
                <a:gd name="connsiteY6" fmla="*/ 15720 h 212964"/>
                <a:gd name="connsiteX7" fmla="*/ 179359 w 196811"/>
                <a:gd name="connsiteY7" fmla="*/ 50391 h 212964"/>
                <a:gd name="connsiteX8" fmla="*/ 180155 w 196811"/>
                <a:gd name="connsiteY8" fmla="*/ 51959 h 212964"/>
                <a:gd name="connsiteX9" fmla="*/ 193558 w 196811"/>
                <a:gd name="connsiteY9" fmla="*/ 51749 h 212964"/>
                <a:gd name="connsiteX10" fmla="*/ 192259 w 196811"/>
                <a:gd name="connsiteY10" fmla="*/ 9142 h 212964"/>
                <a:gd name="connsiteX11" fmla="*/ 181267 w 196811"/>
                <a:gd name="connsiteY11" fmla="*/ 9142 h 212964"/>
                <a:gd name="connsiteX12" fmla="*/ 180694 w 196811"/>
                <a:gd name="connsiteY12" fmla="*/ 9528 h 212964"/>
                <a:gd name="connsiteX13" fmla="*/ 176515 w 196811"/>
                <a:gd name="connsiteY13" fmla="*/ 10453 h 212964"/>
                <a:gd name="connsiteX14" fmla="*/ 163768 w 196811"/>
                <a:gd name="connsiteY14" fmla="*/ 7761 h 212964"/>
                <a:gd name="connsiteX15" fmla="*/ 112441 w 196811"/>
                <a:gd name="connsiteY15" fmla="*/ 0 h 212964"/>
                <a:gd name="connsiteX16" fmla="*/ 0 w 196811"/>
                <a:gd name="connsiteY16" fmla="*/ 110275 h 212964"/>
                <a:gd name="connsiteX17" fmla="*/ 110029 w 196811"/>
                <a:gd name="connsiteY17" fmla="*/ 212965 h 212964"/>
                <a:gd name="connsiteX18" fmla="*/ 149382 w 196811"/>
                <a:gd name="connsiteY18" fmla="*/ 208411 h 212964"/>
                <a:gd name="connsiteX19" fmla="*/ 169808 w 196811"/>
                <a:gd name="connsiteY19" fmla="*/ 205661 h 212964"/>
                <a:gd name="connsiteX20" fmla="*/ 172804 w 196811"/>
                <a:gd name="connsiteY20" fmla="*/ 205567 h 212964"/>
                <a:gd name="connsiteX21" fmla="*/ 179406 w 196811"/>
                <a:gd name="connsiteY21" fmla="*/ 205719 h 212964"/>
                <a:gd name="connsiteX22" fmla="*/ 182414 w 196811"/>
                <a:gd name="connsiteY22" fmla="*/ 206012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96811" h="212964">
                  <a:moveTo>
                    <a:pt x="196812" y="165348"/>
                  </a:moveTo>
                  <a:lnTo>
                    <a:pt x="180635" y="165547"/>
                  </a:lnTo>
                  <a:lnTo>
                    <a:pt x="179828" y="166659"/>
                  </a:lnTo>
                  <a:cubicBezTo>
                    <a:pt x="163440" y="186839"/>
                    <a:pt x="146315" y="195044"/>
                    <a:pt x="118960" y="195922"/>
                  </a:cubicBezTo>
                  <a:cubicBezTo>
                    <a:pt x="100712" y="196577"/>
                    <a:pt x="83927" y="189824"/>
                    <a:pt x="70255" y="176585"/>
                  </a:cubicBezTo>
                  <a:cubicBezTo>
                    <a:pt x="52123" y="159027"/>
                    <a:pt x="41729" y="131859"/>
                    <a:pt x="41729" y="102023"/>
                  </a:cubicBezTo>
                  <a:cubicBezTo>
                    <a:pt x="41729" y="50403"/>
                    <a:pt x="70618" y="15720"/>
                    <a:pt x="113623" y="15720"/>
                  </a:cubicBezTo>
                  <a:cubicBezTo>
                    <a:pt x="143799" y="15720"/>
                    <a:pt x="168989" y="28994"/>
                    <a:pt x="179359" y="50391"/>
                  </a:cubicBezTo>
                  <a:lnTo>
                    <a:pt x="180155" y="51959"/>
                  </a:lnTo>
                  <a:lnTo>
                    <a:pt x="193558" y="51749"/>
                  </a:lnTo>
                  <a:lnTo>
                    <a:pt x="192259" y="9142"/>
                  </a:lnTo>
                  <a:lnTo>
                    <a:pt x="181267" y="9142"/>
                  </a:lnTo>
                  <a:lnTo>
                    <a:pt x="180694" y="9528"/>
                  </a:lnTo>
                  <a:cubicBezTo>
                    <a:pt x="179431" y="10264"/>
                    <a:pt x="177970" y="10587"/>
                    <a:pt x="176515" y="10453"/>
                  </a:cubicBezTo>
                  <a:cubicBezTo>
                    <a:pt x="173928" y="10359"/>
                    <a:pt x="169492" y="9282"/>
                    <a:pt x="163768" y="7761"/>
                  </a:cubicBezTo>
                  <a:cubicBezTo>
                    <a:pt x="152039" y="4682"/>
                    <a:pt x="134259" y="0"/>
                    <a:pt x="112441" y="0"/>
                  </a:cubicBezTo>
                  <a:cubicBezTo>
                    <a:pt x="34765" y="0"/>
                    <a:pt x="0" y="55377"/>
                    <a:pt x="0" y="110275"/>
                  </a:cubicBezTo>
                  <a:cubicBezTo>
                    <a:pt x="0" y="172652"/>
                    <a:pt x="43192" y="212965"/>
                    <a:pt x="110029" y="212965"/>
                  </a:cubicBezTo>
                  <a:cubicBezTo>
                    <a:pt x="124965" y="212965"/>
                    <a:pt x="138461" y="210448"/>
                    <a:pt x="149382" y="208411"/>
                  </a:cubicBezTo>
                  <a:cubicBezTo>
                    <a:pt x="156745" y="207030"/>
                    <a:pt x="163838" y="205789"/>
                    <a:pt x="169808" y="205661"/>
                  </a:cubicBezTo>
                  <a:cubicBezTo>
                    <a:pt x="171119" y="205661"/>
                    <a:pt x="172032" y="205661"/>
                    <a:pt x="172804" y="205567"/>
                  </a:cubicBezTo>
                  <a:cubicBezTo>
                    <a:pt x="175006" y="205507"/>
                    <a:pt x="177209" y="205558"/>
                    <a:pt x="179406" y="205719"/>
                  </a:cubicBezTo>
                  <a:lnTo>
                    <a:pt x="182414" y="206012"/>
                  </a:lnTo>
                  <a:close/>
                </a:path>
              </a:pathLst>
            </a:custGeom>
            <a:solidFill>
              <a:srgbClr val="000000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</p:grpSp>
      <p:sp>
        <p:nvSpPr>
          <p:cNvPr id="9" name="TextBox 8">
            <a:extLst>
              <a:ext uri="{FF2B5EF4-FFF2-40B4-BE49-F238E27FC236}">
                <a16:creationId xmlns:a16="http://schemas.microsoft.com/office/drawing/2014/main" id="{B3AFEA48-C2A9-94EB-D08C-B447DF5C2471}"/>
              </a:ext>
            </a:extLst>
          </p:cNvPr>
          <p:cNvSpPr txBox="1"/>
          <p:nvPr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5783263" y="6642100"/>
            <a:ext cx="654050" cy="15240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n-US" sz="1000">
                <a:solidFill>
                  <a:srgbClr val="000000">
                    <a:alpha val="50000"/>
                  </a:srgb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192056896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1" r:id="rId1"/>
    <p:sldLayoutId id="2147483661" r:id="rId2"/>
    <p:sldLayoutId id="2147483662" r:id="rId3"/>
    <p:sldLayoutId id="2147483663" r:id="rId4"/>
    <p:sldLayoutId id="2147483669" r:id="rId5"/>
    <p:sldLayoutId id="2147483708" r:id="rId6"/>
    <p:sldLayoutId id="2147483670" r:id="rId7"/>
    <p:sldLayoutId id="2147483671" r:id="rId8"/>
    <p:sldLayoutId id="2147483679" r:id="rId9"/>
    <p:sldLayoutId id="2147483675" r:id="rId10"/>
    <p:sldLayoutId id="2147483677" r:id="rId11"/>
    <p:sldLayoutId id="2147483680" r:id="rId12"/>
    <p:sldLayoutId id="2147483685" r:id="rId13"/>
    <p:sldLayoutId id="2147483752" r:id="rId14"/>
    <p:sldLayoutId id="2147483689" r:id="rId15"/>
    <p:sldLayoutId id="2147483711" r:id="rId16"/>
    <p:sldLayoutId id="2147483710" r:id="rId17"/>
    <p:sldLayoutId id="2147483753" r:id="rId18"/>
    <p:sldLayoutId id="2147483755" r:id="rId19"/>
    <p:sldLayoutId id="2147483757" r:id="rId20"/>
    <p:sldLayoutId id="2147483756" r:id="rId21"/>
    <p:sldLayoutId id="2147483758" r:id="rId22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000" b="1" kern="1200" baseline="0">
          <a:solidFill>
            <a:schemeClr val="tx1"/>
          </a:solidFill>
          <a:latin typeface="+mn-lt"/>
          <a:ea typeface="Malgun Gothic Semilight" panose="020B0502040204020203" pitchFamily="34" charset="-128"/>
          <a:cs typeface="Malgun Gothic Semilight" panose="020B0502040204020203" pitchFamily="34" charset="-128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1800"/>
        </a:spcBef>
        <a:spcAft>
          <a:spcPts val="800"/>
        </a:spcAft>
        <a:buFont typeface="Wingdings" panose="05000000000000000000" pitchFamily="2" charset="2"/>
        <a:buNone/>
        <a:defRPr sz="1600" b="1" kern="1200" cap="none" baseline="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100000"/>
        </a:lnSpc>
        <a:spcBef>
          <a:spcPts val="400"/>
        </a:spcBef>
        <a:spcAft>
          <a:spcPts val="400"/>
        </a:spcAft>
        <a:buFont typeface="Wingdings" panose="05000000000000000000" pitchFamily="2" charset="2"/>
        <a:buNone/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182880" indent="-182880" algn="l" defTabSz="914400" rtl="0" eaLnBrk="1" latinLnBrk="0" hangingPunct="1">
        <a:lnSpc>
          <a:spcPct val="100000"/>
        </a:lnSpc>
        <a:spcBef>
          <a:spcPts val="400"/>
        </a:spcBef>
        <a:spcAft>
          <a:spcPts val="400"/>
        </a:spcAft>
        <a:buClr>
          <a:schemeClr val="tx1"/>
        </a:buClr>
        <a:buFont typeface="Wingdings" panose="05000000000000000000" pitchFamily="2" charset="2"/>
        <a:buChar char="§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365760" indent="-182880" algn="l" defTabSz="914400" rtl="0" eaLnBrk="1" latinLnBrk="0" hangingPunct="1">
        <a:lnSpc>
          <a:spcPct val="100000"/>
        </a:lnSpc>
        <a:spcBef>
          <a:spcPts val="400"/>
        </a:spcBef>
        <a:spcAft>
          <a:spcPts val="400"/>
        </a:spcAft>
        <a:buClr>
          <a:schemeClr val="tx1"/>
        </a:buClr>
        <a:buFont typeface="Symbol" panose="05050102010706020507" pitchFamily="18" charset="2"/>
        <a:buChar char="-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548640" indent="-182880" algn="l" defTabSz="914400" rtl="0" eaLnBrk="1" latinLnBrk="0" hangingPunct="1">
        <a:lnSpc>
          <a:spcPct val="100000"/>
        </a:lnSpc>
        <a:spcBef>
          <a:spcPts val="400"/>
        </a:spcBef>
        <a:spcAft>
          <a:spcPts val="400"/>
        </a:spcAft>
        <a:buClr>
          <a:schemeClr val="tx1"/>
        </a:buClr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715963" indent="-179388" algn="l" defTabSz="914400" rtl="0" eaLnBrk="1" latinLnBrk="0" hangingPunct="1">
        <a:lnSpc>
          <a:spcPct val="100000"/>
        </a:lnSpc>
        <a:spcBef>
          <a:spcPts val="400"/>
        </a:spcBef>
        <a:buFont typeface="Symbol" panose="05050102010706020507" pitchFamily="18" charset="2"/>
        <a:buChar char="-"/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orient="horz" pos="3960" userDrawn="1">
          <p15:clr>
            <a:srgbClr val="F26B43"/>
          </p15:clr>
        </p15:guide>
        <p15:guide id="3" pos="7378">
          <p15:clr>
            <a:srgbClr val="F26B43"/>
          </p15:clr>
        </p15:guide>
        <p15:guide id="5" pos="302">
          <p15:clr>
            <a:srgbClr val="F26B43"/>
          </p15:clr>
        </p15:guide>
        <p15:guide id="6" orient="horz" pos="1117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5.xml"/><Relationship Id="rId2" Type="http://schemas.openxmlformats.org/officeDocument/2006/relationships/tags" Target="../tags/tag35.xml"/><Relationship Id="rId1" Type="http://schemas.openxmlformats.org/officeDocument/2006/relationships/tags" Target="../tags/tag34.x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22.bin"/><Relationship Id="rId4" Type="http://schemas.openxmlformats.org/officeDocument/2006/relationships/notesSlide" Target="../notesSlides/notesSlide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1C46CB4C-5F6A-D062-7972-C424E49F1F8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FF13BA3-4DBD-492F-AF1C-C76B12832872}" type="datetime1">
              <a:rPr lang="de-DE" smtClean="0"/>
              <a:pPr/>
              <a:t>03.06.25</a:t>
            </a:fld>
            <a:endParaRPr lang="en-DE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CC8939BF-9234-FFB2-4F27-1966C7494E4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>
                <a:latin typeface="Arial"/>
                <a:cs typeface="Arial"/>
              </a:rPr>
              <a:t>Name</a:t>
            </a:r>
            <a:endParaRPr lang="en-US" dirty="0" err="1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DF03F153-0AB9-AE96-8578-A7F30070ECCF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/>
              <a:t>Senacor Technologies AG</a:t>
            </a:r>
            <a:endParaRPr lang="en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EFF0B974-A25D-535F-F28E-44364717EBA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E63DBB63-5C76-DA40-949C-F00FB53C9B50}" type="slidenum">
              <a:rPr lang="en-DE" smtClean="0"/>
              <a:pPr/>
              <a:t>1</a:t>
            </a:fld>
            <a:endParaRPr lang="en-DE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54A53F4F-D508-EC07-8D4B-82CE9F4DD6C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 err="1">
                <a:latin typeface="Arial"/>
                <a:cs typeface="Arial"/>
              </a:rPr>
              <a:t>Product</a:t>
            </a:r>
            <a:r>
              <a:rPr lang="de-DE" dirty="0">
                <a:latin typeface="Arial"/>
                <a:cs typeface="Arial"/>
              </a:rPr>
              <a:t> </a:t>
            </a:r>
            <a:r>
              <a:rPr lang="de-DE" dirty="0" err="1">
                <a:latin typeface="Arial"/>
                <a:cs typeface="Arial"/>
              </a:rPr>
              <a:t>Owner</a:t>
            </a:r>
            <a:r>
              <a:rPr lang="de-DE" dirty="0">
                <a:latin typeface="Arial"/>
                <a:cs typeface="Arial"/>
              </a:rPr>
              <a:t> / </a:t>
            </a:r>
            <a:r>
              <a:rPr lang="de-DE" dirty="0" err="1">
                <a:latin typeface="Arial"/>
                <a:cs typeface="Arial"/>
              </a:rPr>
              <a:t>Delivery</a:t>
            </a:r>
            <a:r>
              <a:rPr lang="de-DE" dirty="0">
                <a:latin typeface="Arial"/>
                <a:cs typeface="Arial"/>
              </a:rPr>
              <a:t> Expert</a:t>
            </a:r>
            <a:endParaRPr lang="de-DE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CC44AFB2-E434-A3F5-7633-7577DED590DA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/>
        <p:txBody>
          <a:bodyPr vert="horz" wrap="square" lIns="0" tIns="0" rIns="0" bIns="0" rtlCol="0" anchor="t">
            <a:noAutofit/>
          </a:bodyPr>
          <a:lstStyle/>
          <a:p>
            <a:endParaRPr lang="de-DE" dirty="0"/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29BA8FC9-03A2-9AC1-D64A-77CE72A64EDC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/>
        <p:txBody>
          <a:bodyPr vert="horz" wrap="square" lIns="0" tIns="0" rIns="0" bIns="0" rtlCol="0" anchor="t">
            <a:noAutofit/>
          </a:bodyPr>
          <a:lstStyle/>
          <a:p>
            <a:endParaRPr lang="de-DE" dirty="0"/>
          </a:p>
        </p:txBody>
      </p:sp>
      <p:sp>
        <p:nvSpPr>
          <p:cNvPr id="15" name="Content Placeholder 16">
            <a:extLst>
              <a:ext uri="{FF2B5EF4-FFF2-40B4-BE49-F238E27FC236}">
                <a16:creationId xmlns:a16="http://schemas.microsoft.com/office/drawing/2014/main" id="{84A18970-A769-DA1E-5D97-0634790DAB43}"/>
              </a:ext>
            </a:extLst>
          </p:cNvPr>
          <p:cNvSpPr txBox="1">
            <a:spLocks noChangeAspect="1"/>
          </p:cNvSpPr>
          <p:nvPr/>
        </p:nvSpPr>
        <p:spPr>
          <a:xfrm>
            <a:off x="6204967" y="4082736"/>
            <a:ext cx="5501753" cy="2281241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spcAft>
                <a:spcPts val="800"/>
              </a:spcAft>
              <a:buFont typeface="Wingdings" panose="05000000000000000000" pitchFamily="2" charset="2"/>
              <a:buNone/>
              <a:defRPr sz="1600" b="1" kern="1200" cap="none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 typeface="Wingdings" panose="05000000000000000000" pitchFamily="2" charset="2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2880" indent="-18288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5760" indent="-18288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8640" indent="-18288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5963" indent="-179388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>
              <a:buClr>
                <a:schemeClr val="bg1"/>
              </a:buClr>
            </a:pPr>
            <a:endParaRPr lang="de-DE" sz="10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Content Placeholder 16">
            <a:extLst>
              <a:ext uri="{FF2B5EF4-FFF2-40B4-BE49-F238E27FC236}">
                <a16:creationId xmlns:a16="http://schemas.microsoft.com/office/drawing/2014/main" id="{4356797F-C749-AD82-9EAC-76437E413C28}"/>
              </a:ext>
            </a:extLst>
          </p:cNvPr>
          <p:cNvSpPr txBox="1">
            <a:spLocks noChangeAspect="1"/>
          </p:cNvSpPr>
          <p:nvPr/>
        </p:nvSpPr>
        <p:spPr>
          <a:xfrm>
            <a:off x="486000" y="4082736"/>
            <a:ext cx="5501753" cy="2281241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spcAft>
                <a:spcPts val="800"/>
              </a:spcAft>
              <a:buFont typeface="Wingdings" panose="05000000000000000000" pitchFamily="2" charset="2"/>
              <a:buNone/>
              <a:defRPr sz="1600" b="1" kern="1200" cap="none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 typeface="Wingdings" panose="05000000000000000000" pitchFamily="2" charset="2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2880" indent="-18288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5760" indent="-18288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8640" indent="-18288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5963" indent="-179388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>
              <a:buClr>
                <a:schemeClr val="bg1"/>
              </a:buClr>
            </a:pPr>
            <a:endParaRPr lang="de-DE" sz="10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Wingdings" pitchFamily="2" charset="2"/>
            </a:endParaRPr>
          </a:p>
        </p:txBody>
      </p:sp>
    </p:spTree>
    <p:extLst>
      <p:ext uri="{BB962C8B-B14F-4D97-AF65-F5344CB8AC3E}">
        <p14:creationId xmlns:p14="http://schemas.microsoft.com/office/powerpoint/2010/main" val="6608738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653" imgH="666" progId="TCLayout.ActiveDocument.1">
                  <p:embed/>
                </p:oleObj>
              </mc:Choice>
              <mc:Fallback>
                <p:oleObj name="think-cell Slide" r:id="rId5" imgW="653" imgH="666" progId="TCLayout.ActiveDocument.1">
                  <p:embed/>
                  <p:pic>
                    <p:nvPicPr>
                      <p:cNvPr id="13" name="Objekt 1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hteck 11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GB" sz="2200" b="1">
              <a:solidFill>
                <a:schemeClr val="tx1"/>
              </a:solidFill>
              <a:latin typeface="Arial" panose="020B0604020202020204" pitchFamily="34" charset="0"/>
              <a:ea typeface="Malgun Gothic Semilight" panose="020B0502040204020203" pitchFamily="34" charset="-128"/>
              <a:cs typeface="Malgun Gothic Semilight" panose="020B0502040204020203" pitchFamily="34" charset="-128"/>
              <a:sym typeface="Arial" panose="020B0604020202020204" pitchFamily="34" charset="0"/>
            </a:endParaRP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>
          <a:xfrm>
            <a:off x="11597159" y="6633547"/>
            <a:ext cx="115416" cy="123111"/>
          </a:xfrm>
        </p:spPr>
        <p:txBody>
          <a:bodyPr/>
          <a:lstStyle/>
          <a:p>
            <a:fld id="{C50CBA42-791E-4851-9FB4-39A223136DC3}" type="slidenum">
              <a:rPr lang="en-GB" smtClean="0"/>
              <a:pPr/>
              <a:t>2</a:t>
            </a:fld>
            <a:endParaRPr lang="en-GB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5"/>
          </p:nvPr>
        </p:nvSpPr>
        <p:spPr>
          <a:xfrm>
            <a:off x="479424" y="340366"/>
            <a:ext cx="9509760" cy="246221"/>
          </a:xfrm>
        </p:spPr>
        <p:txBody>
          <a:bodyPr/>
          <a:lstStyle/>
          <a:p>
            <a:r>
              <a:rPr lang="en-GB" sz="1600"/>
              <a:t>product owner / Delivery Expert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 flipH="1">
            <a:off x="479423" y="6633547"/>
            <a:ext cx="7246798" cy="123111"/>
          </a:xfrm>
        </p:spPr>
        <p:txBody>
          <a:bodyPr/>
          <a:lstStyle/>
          <a:p>
            <a:r>
              <a:rPr lang="en-GB" sz="800"/>
              <a:t>Senacor  |  Deutsche Bank  |  Request for Proposal – Miles &amp; More // Mobile app solution development 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2"/>
          </p:nvPr>
        </p:nvSpPr>
        <p:spPr>
          <a:xfrm>
            <a:off x="9850330" y="6633547"/>
            <a:ext cx="581891" cy="123111"/>
          </a:xfrm>
        </p:spPr>
        <p:txBody>
          <a:bodyPr/>
          <a:lstStyle/>
          <a:p>
            <a:r>
              <a:rPr lang="de-DE" sz="800"/>
              <a:t>August 2023</a:t>
            </a:r>
            <a:endParaRPr lang="en-GB" sz="800"/>
          </a:p>
        </p:txBody>
      </p:sp>
      <p:sp>
        <p:nvSpPr>
          <p:cNvPr id="7" name="Titel 6"/>
          <p:cNvSpPr>
            <a:spLocks noGrp="1"/>
          </p:cNvSpPr>
          <p:nvPr>
            <p:ph type="title"/>
          </p:nvPr>
        </p:nvSpPr>
        <p:spPr>
          <a:xfrm>
            <a:off x="479425" y="720000"/>
            <a:ext cx="11233150" cy="609398"/>
          </a:xfrm>
        </p:spPr>
        <p:txBody>
          <a:bodyPr vert="horz"/>
          <a:lstStyle/>
          <a:p>
            <a:r>
              <a:rPr lang="en-GB" dirty="0"/>
              <a:t>Name</a:t>
            </a:r>
          </a:p>
        </p:txBody>
      </p:sp>
      <p:sp>
        <p:nvSpPr>
          <p:cNvPr id="8" name="Content Placeholder 16">
            <a:extLst>
              <a:ext uri="{FF2B5EF4-FFF2-40B4-BE49-F238E27FC236}">
                <a16:creationId xmlns:a16="http://schemas.microsoft.com/office/drawing/2014/main" id="{66B53BDA-FA17-4EA1-AD63-5F0F3027D005}"/>
              </a:ext>
            </a:extLst>
          </p:cNvPr>
          <p:cNvSpPr txBox="1">
            <a:spLocks noChangeAspect="1"/>
          </p:cNvSpPr>
          <p:nvPr/>
        </p:nvSpPr>
        <p:spPr>
          <a:xfrm>
            <a:off x="6335900" y="1775816"/>
            <a:ext cx="5376673" cy="4507992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spcAft>
                <a:spcPts val="800"/>
              </a:spcAft>
              <a:buFont typeface="Wingdings" panose="05000000000000000000" pitchFamily="2" charset="2"/>
              <a:buNone/>
              <a:defRPr sz="1600" b="1" kern="1200" cap="none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 typeface="Wingdings" panose="05000000000000000000" pitchFamily="2" charset="2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2880" indent="-18288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5760" indent="-18288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8640" indent="-18288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5963" indent="-179388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300"/>
              </a:spcBef>
            </a:pPr>
            <a:r>
              <a:rPr lang="en-GB" dirty="0"/>
              <a:t>Project Experience (Excerpt)</a:t>
            </a:r>
          </a:p>
          <a:p>
            <a:pPr lvl="3">
              <a:spcBef>
                <a:spcPts val="300"/>
              </a:spcBef>
            </a:pPr>
            <a:endParaRPr lang="en-GB" dirty="0"/>
          </a:p>
        </p:txBody>
      </p:sp>
      <p:sp>
        <p:nvSpPr>
          <p:cNvPr id="9" name="Content Placeholder 16">
            <a:extLst>
              <a:ext uri="{FF2B5EF4-FFF2-40B4-BE49-F238E27FC236}">
                <a16:creationId xmlns:a16="http://schemas.microsoft.com/office/drawing/2014/main" id="{EFCA1139-0B70-4373-BA47-9DCF18A67C2A}"/>
              </a:ext>
            </a:extLst>
          </p:cNvPr>
          <p:cNvSpPr txBox="1">
            <a:spLocks noChangeAspect="1"/>
          </p:cNvSpPr>
          <p:nvPr/>
        </p:nvSpPr>
        <p:spPr>
          <a:xfrm>
            <a:off x="2402650" y="1775816"/>
            <a:ext cx="3453446" cy="2057400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spcAft>
                <a:spcPts val="800"/>
              </a:spcAft>
              <a:buFont typeface="Wingdings" panose="05000000000000000000" pitchFamily="2" charset="2"/>
              <a:buNone/>
              <a:defRPr sz="1600" b="1" kern="1200" cap="none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 typeface="Wingdings" panose="05000000000000000000" pitchFamily="2" charset="2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2880" indent="-18288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5760" indent="-18288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8640" indent="-18288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5963" indent="-179388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/>
              <a:t>Focus</a:t>
            </a:r>
          </a:p>
        </p:txBody>
      </p:sp>
      <p:sp>
        <p:nvSpPr>
          <p:cNvPr id="10" name="Content Placeholder 17">
            <a:extLst>
              <a:ext uri="{FF2B5EF4-FFF2-40B4-BE49-F238E27FC236}">
                <a16:creationId xmlns:a16="http://schemas.microsoft.com/office/drawing/2014/main" id="{DA9E50F1-517B-400A-B2A2-F9990055DE70}"/>
              </a:ext>
            </a:extLst>
          </p:cNvPr>
          <p:cNvSpPr txBox="1">
            <a:spLocks noChangeAspect="1"/>
          </p:cNvSpPr>
          <p:nvPr/>
        </p:nvSpPr>
        <p:spPr>
          <a:xfrm>
            <a:off x="479424" y="4226408"/>
            <a:ext cx="5376672" cy="2057400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spcAft>
                <a:spcPts val="800"/>
              </a:spcAft>
              <a:buFont typeface="Wingdings" panose="05000000000000000000" pitchFamily="2" charset="2"/>
              <a:buNone/>
              <a:defRPr sz="1600" b="1" kern="1200" cap="none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 typeface="Wingdings" panose="05000000000000000000" pitchFamily="2" charset="2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2880" indent="-18288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5760" indent="-18288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8640" indent="-18288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5963" indent="-179388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/>
              <a:t>Education and </a:t>
            </a:r>
            <a:r>
              <a:rPr lang="en-GB"/>
              <a:t>professional Experienc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9835563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2wpgivOAYlmRYRRBBDzt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2wpgivOAYlmRYRRBBDzt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.3Tf7DBBDucYED2mxjmt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2wpgivOAYlmRYRRBBDzt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2wpgivOAYlmRYRRBBDzt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GZWAQJRSzAgrWEOd0mCE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2wpgivOAYlmRYRRBBDzt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.3Tf7DBBDucYED2mxjmt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2wpgivOAYlmRYRRBBDzt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VOtmST3P_U.lfvO3tlxM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.3Tf7DBBDucYED2mxjmt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2wpgivOAYlmRYRRBBDzt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.3Tf7DBBDucYED2mxjmtw"/>
</p:tagLst>
</file>

<file path=ppt/theme/theme1.xml><?xml version="1.0" encoding="utf-8"?>
<a:theme xmlns:a="http://schemas.openxmlformats.org/drawingml/2006/main" name="Senacor 2023 (Dark)">
  <a:themeElements>
    <a:clrScheme name="Senacor PPT 2023">
      <a:dk1>
        <a:srgbClr val="000000"/>
      </a:dk1>
      <a:lt1>
        <a:srgbClr val="FFFFFF"/>
      </a:lt1>
      <a:dk2>
        <a:srgbClr val="929292"/>
      </a:dk2>
      <a:lt2>
        <a:srgbClr val="373737"/>
      </a:lt2>
      <a:accent1>
        <a:srgbClr val="7091C8"/>
      </a:accent1>
      <a:accent2>
        <a:srgbClr val="82B8A1"/>
      </a:accent2>
      <a:accent3>
        <a:srgbClr val="C4C4C4"/>
      </a:accent3>
      <a:accent4>
        <a:srgbClr val="A8A8A8"/>
      </a:accent4>
      <a:accent5>
        <a:srgbClr val="D0D0D0"/>
      </a:accent5>
      <a:accent6>
        <a:srgbClr val="F6C111"/>
      </a:accent6>
      <a:hlink>
        <a:srgbClr val="7191C8"/>
      </a:hlink>
      <a:folHlink>
        <a:srgbClr val="596A8E"/>
      </a:folHlink>
    </a:clrScheme>
    <a:fontScheme name="Senacor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72000" tIns="72000" rIns="72000" bIns="72000" rtlCol="0">
        <a:noAutofit/>
      </a:bodyPr>
      <a:lstStyle>
        <a:defPPr marL="171450" indent="-171450" algn="l">
          <a:spcAft>
            <a:spcPts val="330"/>
          </a:spcAft>
          <a:buFont typeface="Wingdings" pitchFamily="2" charset="2"/>
          <a:buChar char="§"/>
          <a:defRPr sz="1200" dirty="0" smtClean="0">
            <a:solidFill>
              <a:schemeClr val="tx1"/>
            </a:solidFill>
            <a:latin typeface="Arial" panose="020B0604020202020204" pitchFamily="34" charset="0"/>
            <a:cs typeface="Arial" panose="020B060402020202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enacor Master_2023" id="{69E2B91C-73F8-3141-9371-DDB6FAB7484B}" vid="{D24E23BC-4089-724E-AE17-D279E1740A09}"/>
    </a:ext>
  </a:extLst>
</a:theme>
</file>

<file path=ppt/theme/theme2.xml><?xml version="1.0" encoding="utf-8"?>
<a:theme xmlns:a="http://schemas.openxmlformats.org/drawingml/2006/main" name="Senacor 2023 (Light)">
  <a:themeElements>
    <a:clrScheme name="Senacor PPT 2023">
      <a:dk1>
        <a:srgbClr val="000000"/>
      </a:dk1>
      <a:lt1>
        <a:srgbClr val="FFFFFF"/>
      </a:lt1>
      <a:dk2>
        <a:srgbClr val="929292"/>
      </a:dk2>
      <a:lt2>
        <a:srgbClr val="373737"/>
      </a:lt2>
      <a:accent1>
        <a:srgbClr val="7091C8"/>
      </a:accent1>
      <a:accent2>
        <a:srgbClr val="82B8A1"/>
      </a:accent2>
      <a:accent3>
        <a:srgbClr val="C4C4C4"/>
      </a:accent3>
      <a:accent4>
        <a:srgbClr val="A8A8A8"/>
      </a:accent4>
      <a:accent5>
        <a:srgbClr val="D0D0D0"/>
      </a:accent5>
      <a:accent6>
        <a:srgbClr val="F6C111"/>
      </a:accent6>
      <a:hlink>
        <a:srgbClr val="7191C8"/>
      </a:hlink>
      <a:folHlink>
        <a:srgbClr val="596A8E"/>
      </a:folHlink>
    </a:clrScheme>
    <a:fontScheme name="Senacor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 sz="1400" dirty="0" smtClean="0">
            <a:latin typeface="Arial" panose="020B0604020202020204" pitchFamily="34" charset="0"/>
            <a:cs typeface="Arial" panose="020B0604020202020204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72000" tIns="72000" rIns="72000" bIns="72000" rtlCol="0">
        <a:noAutofit/>
      </a:bodyPr>
      <a:lstStyle>
        <a:defPPr marL="180000" indent="-180000" algn="l">
          <a:lnSpc>
            <a:spcPct val="110000"/>
          </a:lnSpc>
          <a:spcBef>
            <a:spcPts val="400"/>
          </a:spcBef>
          <a:spcAft>
            <a:spcPts val="400"/>
          </a:spcAft>
          <a:buFont typeface="Wingdings" pitchFamily="2" charset="2"/>
          <a:buChar char="§"/>
          <a:defRPr sz="1200" dirty="0" smtClean="0">
            <a:solidFill>
              <a:schemeClr val="bg1"/>
            </a:solidFill>
            <a:latin typeface="Arial" panose="020B0604020202020204" pitchFamily="34" charset="0"/>
            <a:cs typeface="Arial" panose="020B060402020202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enacor 2023 Design" id="{2CA9BC13-F80B-4613-ABA7-5709D830275C}" vid="{AB471A79-B682-400B-9E72-8ACC93ECDCB0}"/>
    </a:ext>
  </a:extLst>
</a:theme>
</file>

<file path=ppt/theme/theme3.xml><?xml version="1.0" encoding="utf-8"?>
<a:theme xmlns:a="http://schemas.openxmlformats.org/drawingml/2006/main" name="Senacor">
  <a:themeElements>
    <a:clrScheme name="Senacor">
      <a:dk1>
        <a:srgbClr val="000000"/>
      </a:dk1>
      <a:lt1>
        <a:srgbClr val="FFFFFF"/>
      </a:lt1>
      <a:dk2>
        <a:srgbClr val="969696"/>
      </a:dk2>
      <a:lt2>
        <a:srgbClr val="646464"/>
      </a:lt2>
      <a:accent1>
        <a:srgbClr val="C0C0C0"/>
      </a:accent1>
      <a:accent2>
        <a:srgbClr val="EAEAEA"/>
      </a:accent2>
      <a:accent3>
        <a:srgbClr val="03224F"/>
      </a:accent3>
      <a:accent4>
        <a:srgbClr val="3F5EFF"/>
      </a:accent4>
      <a:accent5>
        <a:srgbClr val="67A6FF"/>
      </a:accent5>
      <a:accent6>
        <a:srgbClr val="CBE7FE"/>
      </a:accent6>
      <a:hlink>
        <a:srgbClr val="3C3C3C"/>
      </a:hlink>
      <a:folHlink>
        <a:srgbClr val="646464"/>
      </a:folHlink>
    </a:clrScheme>
    <a:fontScheme name="Senacor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/>
        </a:solidFill>
        <a:ln w="6350">
          <a:solidFill>
            <a:schemeClr val="accent1"/>
          </a:solidFill>
        </a:ln>
      </a:spPr>
      <a:bodyPr lIns="0" tIns="0" rIns="0" bIns="0" rtlCol="0" anchor="ctr"/>
      <a:lstStyle>
        <a:defPPr algn="ctr">
          <a:defRPr sz="1200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182880" indent="-182880" algn="l">
          <a:spcBef>
            <a:spcPts val="400"/>
          </a:spcBef>
          <a:spcAft>
            <a:spcPts val="400"/>
          </a:spcAft>
          <a:buFont typeface="Wingdings" panose="05000000000000000000" pitchFamily="2" charset="2"/>
          <a:buChar char="§"/>
          <a:defRPr sz="12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Senacor" id="{6A91F680-BE16-4B69-ABDE-4F5F25FCE78B}" vid="{9F0CFE86-F6CA-4AF3-8C14-953E0DDF0FA5}"/>
    </a:ext>
  </a:extLst>
</a:theme>
</file>

<file path=ppt/theme/theme4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ED369A2B9592B44C89D12E69AC892C99" ma:contentTypeVersion="13" ma:contentTypeDescription="Create a new document." ma:contentTypeScope="" ma:versionID="5d62b34adee5f8c188b484f245c8e4b3">
  <xsd:schema xmlns:xsd="http://www.w3.org/2001/XMLSchema" xmlns:xs="http://www.w3.org/2001/XMLSchema" xmlns:p="http://schemas.microsoft.com/office/2006/metadata/properties" xmlns:ns2="c70c37c3-6fe6-4316-bb79-6c535e774478" xmlns:ns3="f247cc86-41ce-4e54-895f-61d07d03751e" targetNamespace="http://schemas.microsoft.com/office/2006/metadata/properties" ma:root="true" ma:fieldsID="5a5f57b8f0e417d9680f4ee757ce1c1d" ns2:_="" ns3:_="">
    <xsd:import namespace="c70c37c3-6fe6-4316-bb79-6c535e774478"/>
    <xsd:import namespace="f247cc86-41ce-4e54-895f-61d07d03751e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ObjectDetectorVersions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GenerationTime" minOccurs="0"/>
                <xsd:element ref="ns2:MediaServiceEventHashCode" minOccurs="0"/>
                <xsd:element ref="ns2:Personen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70c37c3-6fe6-4316-bb79-6c535e774478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bjectDetectorVersions" ma:index="1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lcf76f155ced4ddcb4097134ff3c332f" ma:index="14" nillable="true" ma:taxonomy="true" ma:internalName="lcf76f155ced4ddcb4097134ff3c332f" ma:taxonomyFieldName="MediaServiceImageTags" ma:displayName="Image Tags" ma:readOnly="false" ma:fieldId="{5cf76f15-5ced-4ddc-b409-7134ff3c332f}" ma:taxonomyMulti="true" ma:sspId="3ea49aa2-03d1-4c4a-9f28-6baa57d9157e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6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Personen" ma:index="19" nillable="true" ma:displayName="Personen" ma:format="Dropdown" ma:list="UserInfo" ma:SharePointGroup="0" ma:internalName="Personen">
      <xsd:complexType>
        <xsd:complexContent>
          <xsd:extension base="dms:User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MediaServiceSearchProperties" ma:index="20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247cc86-41ce-4e54-895f-61d07d03751e" elementFormDefault="qualified">
    <xsd:import namespace="http://schemas.microsoft.com/office/2006/documentManagement/types"/>
    <xsd:import namespace="http://schemas.microsoft.com/office/infopath/2007/PartnerControls"/>
    <xsd:element name="SharedWithUsers" ma:index="11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2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5" nillable="true" ma:displayName="Taxonomy Catch All Column" ma:hidden="true" ma:list="{1a96274e-1b24-44d9-8f5e-b12b3b3f589b}" ma:internalName="TaxCatchAll" ma:showField="CatchAllData" ma:web="f247cc86-41ce-4e54-895f-61d07d03751e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c70c37c3-6fe6-4316-bb79-6c535e774478">
      <Terms xmlns="http://schemas.microsoft.com/office/infopath/2007/PartnerControls"/>
    </lcf76f155ced4ddcb4097134ff3c332f>
    <TaxCatchAll xmlns="f247cc86-41ce-4e54-895f-61d07d03751e" xsi:nil="true"/>
    <SharedWithUsers xmlns="f247cc86-41ce-4e54-895f-61d07d03751e">
      <UserInfo>
        <DisplayName>Gumlich, Timo</DisplayName>
        <AccountId>988</AccountId>
        <AccountType/>
      </UserInfo>
    </SharedWithUsers>
    <Personen xmlns="c70c37c3-6fe6-4316-bb79-6c535e774478">
      <UserInfo>
        <DisplayName/>
        <AccountId xsi:nil="true"/>
        <AccountType/>
      </UserInfo>
    </Personen>
  </documentManagement>
</p:properties>
</file>

<file path=customXml/itemProps1.xml><?xml version="1.0" encoding="utf-8"?>
<ds:datastoreItem xmlns:ds="http://schemas.openxmlformats.org/officeDocument/2006/customXml" ds:itemID="{DEF573D7-9B32-422C-895A-4B034B9BEF3A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c70c37c3-6fe6-4316-bb79-6c535e774478"/>
    <ds:schemaRef ds:uri="f247cc86-41ce-4e54-895f-61d07d03751e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41105344-4E4D-4A05-949C-9504BEA8045B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9183A819-51AB-478F-855E-A0B89FBD5DC9}">
  <ds:schemaRefs>
    <ds:schemaRef ds:uri="http://schemas.microsoft.com/office/2006/metadata/properties"/>
    <ds:schemaRef ds:uri="http://schemas.microsoft.com/office/2006/documentManagement/types"/>
    <ds:schemaRef ds:uri="c70c37c3-6fe6-4316-bb79-6c535e774478"/>
    <ds:schemaRef ds:uri="http://purl.org/dc/terms/"/>
    <ds:schemaRef ds:uri="http://www.w3.org/XML/1998/namespace"/>
    <ds:schemaRef ds:uri="http://purl.org/dc/elements/1.1/"/>
    <ds:schemaRef ds:uri="f247cc86-41ce-4e54-895f-61d07d03751e"/>
    <ds:schemaRef ds:uri="http://schemas.microsoft.com/office/infopath/2007/PartnerControls"/>
    <ds:schemaRef ds:uri="http://schemas.openxmlformats.org/package/2006/metadata/core-properties"/>
    <ds:schemaRef ds:uri="http://purl.org/dc/dcmitype/"/>
  </ds:schemaRefs>
</ds:datastoreItem>
</file>

<file path=docMetadata/LabelInfo.xml><?xml version="1.0" encoding="utf-8"?>
<clbl:labelList xmlns:clbl="http://schemas.microsoft.com/office/2020/mipLabelMetadata">
  <clbl:label id="{f7c3bc37-173c-457b-bb8e-a7c300f9d007}" enabled="1" method="Privileged" siteId="{52497ec2-0945-4f55-8021-79766363dd96}" contentBits="2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3</TotalTime>
  <Words>48</Words>
  <Application>Microsoft Macintosh PowerPoint</Application>
  <PresentationFormat>Widescreen</PresentationFormat>
  <Paragraphs>14</Paragraphs>
  <Slides>2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</vt:i4>
      </vt:variant>
    </vt:vector>
  </HeadingPairs>
  <TitlesOfParts>
    <vt:vector size="10" baseType="lpstr">
      <vt:lpstr>Arial</vt:lpstr>
      <vt:lpstr>Calibri</vt:lpstr>
      <vt:lpstr>Symbol</vt:lpstr>
      <vt:lpstr>Wingdings</vt:lpstr>
      <vt:lpstr>Senacor 2023 (Dark)</vt:lpstr>
      <vt:lpstr>Senacor 2023 (Light)</vt:lpstr>
      <vt:lpstr>Senacor</vt:lpstr>
      <vt:lpstr>think-cell Slide</vt:lpstr>
      <vt:lpstr>Name</vt:lpstr>
      <vt:lpstr>Name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enacor Präsentation</dc:title>
  <dc:subject>IT-Beratung</dc:subject>
  <dc:creator>Brusch, Ulf</dc:creator>
  <cp:keywords>Senacor Farbschema</cp:keywords>
  <cp:lastModifiedBy>Heinrich, Daniel</cp:lastModifiedBy>
  <cp:revision>45</cp:revision>
  <cp:lastPrinted>2023-09-29T10:30:56Z</cp:lastPrinted>
  <dcterms:created xsi:type="dcterms:W3CDTF">2023-05-16T12:46:23Z</dcterms:created>
  <dcterms:modified xsi:type="dcterms:W3CDTF">2025-06-03T09:35:3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ED369A2B9592B44C89D12E69AC892C99</vt:lpwstr>
  </property>
  <property fmtid="{D5CDD505-2E9C-101B-9397-08002B2CF9AE}" pid="3" name="MediaServiceImageTags">
    <vt:lpwstr/>
  </property>
  <property fmtid="{D5CDD505-2E9C-101B-9397-08002B2CF9AE}" pid="4" name="Order">
    <vt:r8>78300</vt:r8>
  </property>
  <property fmtid="{D5CDD505-2E9C-101B-9397-08002B2CF9AE}" pid="5" name="xd_Signature">
    <vt:bool>false</vt:bool>
  </property>
  <property fmtid="{D5CDD505-2E9C-101B-9397-08002B2CF9AE}" pid="6" name="xd_ProgID">
    <vt:lpwstr/>
  </property>
  <property fmtid="{D5CDD505-2E9C-101B-9397-08002B2CF9AE}" pid="7" name="ComplianceAssetId">
    <vt:lpwstr/>
  </property>
  <property fmtid="{D5CDD505-2E9C-101B-9397-08002B2CF9AE}" pid="8" name="TemplateUrl">
    <vt:lpwstr/>
  </property>
  <property fmtid="{D5CDD505-2E9C-101B-9397-08002B2CF9AE}" pid="9" name="TriggerFlowInfo">
    <vt:lpwstr/>
  </property>
  <property fmtid="{D5CDD505-2E9C-101B-9397-08002B2CF9AE}" pid="10" name="ClassificationContentMarkingFooterLocations">
    <vt:lpwstr>Senacor 2023 (Dark):8\Senacor 2023 (Light):7\Senacor:9</vt:lpwstr>
  </property>
  <property fmtid="{D5CDD505-2E9C-101B-9397-08002B2CF9AE}" pid="11" name="ClassificationContentMarkingFooterText">
    <vt:lpwstr>Confidential</vt:lpwstr>
  </property>
</Properties>
</file>